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heme/theme5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1" r:id="rId3"/>
    <p:sldMasterId id="2147483683" r:id="rId4"/>
  </p:sldMasterIdLst>
  <p:notesMasterIdLst>
    <p:notesMasterId r:id="rId22"/>
  </p:notesMasterIdLst>
  <p:sldIdLst>
    <p:sldId id="256" r:id="rId5"/>
    <p:sldId id="257" r:id="rId6"/>
    <p:sldId id="258" r:id="rId7"/>
    <p:sldId id="259" r:id="rId8"/>
    <p:sldId id="260" r:id="rId9"/>
    <p:sldId id="261" r:id="rId10"/>
    <p:sldId id="262" r:id="rId11"/>
    <p:sldId id="263" r:id="rId12"/>
    <p:sldId id="264" r:id="rId13"/>
    <p:sldId id="265" r:id="rId14"/>
    <p:sldId id="266" r:id="rId15"/>
    <p:sldId id="267" r:id="rId16"/>
    <p:sldId id="268" r:id="rId17"/>
    <p:sldId id="269" r:id="rId18"/>
    <p:sldId id="270" r:id="rId19"/>
    <p:sldId id="271" r:id="rId20"/>
    <p:sldId id="272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59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2</c:v>
                </c:pt>
              </c:strCache>
            </c:strRef>
          </c:tx>
          <c:spPr>
            <a:gradFill>
              <a:gsLst>
                <a:gs pos="100000">
                  <a:srgbClr val="A7C5E9">
                    <a:alpha val="38000"/>
                  </a:srgbClr>
                </a:gs>
                <a:gs pos="49000">
                  <a:srgbClr val="769FD0"/>
                </a:gs>
                <a:gs pos="40000">
                  <a:schemeClr val="accent1"/>
                </a:gs>
                <a:gs pos="0">
                  <a:schemeClr val="tx2">
                    <a:lumMod val="82000"/>
                    <a:lumOff val="18000"/>
                  </a:schemeClr>
                </a:gs>
              </a:gsLst>
              <a:lin ang="0" scaled="0"/>
            </a:gradFill>
            <a:ln>
              <a:noFill/>
            </a:ln>
            <a:effectLst/>
          </c:spPr>
          <c:cat>
            <c:numRef>
              <c:f>Sheet1!$A$2:$A$15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19</c:v>
                </c:pt>
                <c:pt idx="1">
                  <c:v>9674</c:v>
                </c:pt>
                <c:pt idx="2">
                  <c:v>15432</c:v>
                </c:pt>
                <c:pt idx="3">
                  <c:v>49396</c:v>
                </c:pt>
                <c:pt idx="4">
                  <c:v>62404</c:v>
                </c:pt>
                <c:pt idx="5">
                  <c:v>65645</c:v>
                </c:pt>
                <c:pt idx="6">
                  <c:v>76197</c:v>
                </c:pt>
                <c:pt idx="7">
                  <c:v>100091</c:v>
                </c:pt>
                <c:pt idx="8">
                  <c:v>195253</c:v>
                </c:pt>
                <c:pt idx="9">
                  <c:v>218872</c:v>
                </c:pt>
                <c:pt idx="10">
                  <c:v>319642</c:v>
                </c:pt>
                <c:pt idx="11">
                  <c:v>346546</c:v>
                </c:pt>
                <c:pt idx="12">
                  <c:v>369630</c:v>
                </c:pt>
                <c:pt idx="13">
                  <c:v>37943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1B7-4C7B-959D-353423D6EE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5626704"/>
        <c:axId val="165627096"/>
      </c:areaChart>
      <c:catAx>
        <c:axId val="16562670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/>
                  <a:t>Calendar Year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5627096"/>
        <c:crosses val="autoZero"/>
        <c:auto val="1"/>
        <c:lblAlgn val="ctr"/>
        <c:lblOffset val="100"/>
        <c:noMultiLvlLbl val="0"/>
      </c:catAx>
      <c:valAx>
        <c:axId val="165627096"/>
        <c:scaling>
          <c:orientation val="minMax"/>
        </c:scaling>
        <c:delete val="0"/>
        <c:axPos val="l"/>
        <c:majorGridlines>
          <c:spPr>
            <a:ln w="9525" cap="rnd" cmpd="sng" algn="ctr">
              <a:solidFill>
                <a:schemeClr val="tx1">
                  <a:lumMod val="15000"/>
                  <a:lumOff val="85000"/>
                </a:schemeClr>
              </a:solidFill>
              <a:prstDash val="sysDot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/>
                  <a:t>Sale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cap="rnd">
            <a:solidFill>
              <a:schemeClr val="bg1">
                <a:lumMod val="95000"/>
              </a:schemeClr>
            </a:solidFill>
            <a:prstDash val="sysDot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562670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749B1E-71A1-4952-BFF0-0B5EA4F1F733}" type="datetimeFigureOut">
              <a:rPr lang="en-US" smtClean="0"/>
              <a:t>10/9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A0A891-3819-4D60-8A40-D174B43C689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28816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42270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C7F9BB-31DC-494C-8040-893D45A2C37D}" type="slidenum">
              <a:rPr lang="en-US" smtClean="0">
                <a:solidFill>
                  <a:prstClr val="black"/>
                </a:solidFill>
              </a:rPr>
              <a:pPr/>
              <a:t>1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51064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microsoft.com/office/2007/relationships/hdphoto" Target="../media/hdphoto1.wdp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85606-8361-4CF3-9BE9-08824437829E}" type="datetimeFigureOut">
              <a:rPr lang="en-US" smtClean="0"/>
              <a:t>10/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494829-1FBB-4967-895A-E92E5DD790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32260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85606-8361-4CF3-9BE9-08824437829E}" type="datetimeFigureOut">
              <a:rPr lang="en-US" smtClean="0"/>
              <a:t>10/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494829-1FBB-4967-895A-E92E5DD790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23995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85606-8361-4CF3-9BE9-08824437829E}" type="datetimeFigureOut">
              <a:rPr lang="en-US" smtClean="0"/>
              <a:t>10/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494829-1FBB-4967-895A-E92E5DD790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10112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9C53FBC8-358F-41F7-B0D6-92F5918B81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903263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069432" y="2487005"/>
            <a:ext cx="9400672" cy="1036219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4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69432" y="3534850"/>
            <a:ext cx="9144000" cy="16557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67107" y="6356349"/>
            <a:ext cx="917946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01956F-6DE9-426C-BD3D-CC32A9BF2148}" type="datetimeFigureOut">
              <a:rPr lang="en-US" smtClean="0">
                <a:solidFill>
                  <a:srgbClr val="FFFFFF"/>
                </a:solidFill>
              </a:rPr>
              <a:pPr/>
              <a:t>10/9/2017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381571" y="6356349"/>
            <a:ext cx="2912402" cy="36512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488536" y="6356349"/>
            <a:ext cx="525379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05D9D2F-D1EB-4B19-8F40-357FCE57DC4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="" xmlns:a16="http://schemas.microsoft.com/office/drawing/2014/main" id="{7986E1A1-116D-4839-AD37-6E44FD0D0B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14202" y="6081482"/>
            <a:ext cx="1595661" cy="549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37548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3"/>
                        </p:tgtEl>
                      </p:cBhvr>
                    </p:animEffect>
                    <p:anim calcmode="lin" valueType="num">
                      <p:cBhvr>
                        <p:cTn dur="1000" fill="hold"/>
                        <p:tgtEl>
                          <p:spTgt spid="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52665" y="915440"/>
            <a:ext cx="9459099" cy="2387600"/>
          </a:xfrm>
          <a:prstGeom prst="rect">
            <a:avLst/>
          </a:prstGeom>
        </p:spPr>
        <p:txBody>
          <a:bodyPr anchor="b"/>
          <a:lstStyle>
            <a:lvl1pPr algn="l">
              <a:defRPr sz="4800" b="0" i="0">
                <a:latin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232421" y="6356350"/>
            <a:ext cx="1099751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101956F-6DE9-426C-BD3D-CC32A9BF2148}" type="datetimeFigureOut">
              <a:rPr lang="en-US" smtClean="0">
                <a:solidFill>
                  <a:srgbClr val="000000"/>
                </a:solidFill>
              </a:rPr>
              <a:pPr/>
              <a:t>10/9/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87752" y="6356350"/>
            <a:ext cx="6603565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245777" y="6356350"/>
            <a:ext cx="931973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5D9D2F-D1EB-4B19-8F40-357FCE57DC4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0C66C16A-D7E2-41F4-9346-8DB5A9B162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98369" y="0"/>
            <a:ext cx="1793631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F7BF146C-C9A2-476E-A211-0961B708F1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735" y="6081483"/>
            <a:ext cx="1595661" cy="549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51094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3137" y="334537"/>
            <a:ext cx="10158663" cy="1066035"/>
          </a:xfrm>
          <a:prstGeom prst="rect">
            <a:avLst/>
          </a:prstGeom>
        </p:spPr>
        <p:txBody>
          <a:bodyPr/>
          <a:lstStyle>
            <a:lvl1pPr>
              <a:defRPr sz="4000" b="0" i="0">
                <a:latin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3137" y="1400572"/>
            <a:ext cx="11333747" cy="4776391"/>
          </a:xfrm>
          <a:prstGeom prst="rect">
            <a:avLst/>
          </a:prstGeom>
        </p:spPr>
        <p:txBody>
          <a:bodyPr/>
          <a:lstStyle>
            <a:lvl1pPr>
              <a:lnSpc>
                <a:spcPts val="3000"/>
              </a:lnSpc>
              <a:spcBef>
                <a:spcPts val="600"/>
              </a:spcBef>
              <a:buClr>
                <a:schemeClr val="bg2"/>
              </a:buClr>
              <a:defRPr b="0" i="0">
                <a:latin typeface="Verdana" panose="020B0604030504040204" pitchFamily="34" charset="0"/>
              </a:defRPr>
            </a:lvl1pPr>
            <a:lvl2pPr>
              <a:lnSpc>
                <a:spcPts val="3000"/>
              </a:lnSpc>
              <a:spcBef>
                <a:spcPts val="600"/>
              </a:spcBef>
              <a:buClr>
                <a:schemeClr val="bg2"/>
              </a:buClr>
              <a:defRPr b="0" i="0">
                <a:latin typeface="Verdana" panose="020B0604030504040204" pitchFamily="34" charset="0"/>
              </a:defRPr>
            </a:lvl2pPr>
            <a:lvl3pPr>
              <a:lnSpc>
                <a:spcPts val="3000"/>
              </a:lnSpc>
              <a:spcBef>
                <a:spcPts val="600"/>
              </a:spcBef>
              <a:buClr>
                <a:schemeClr val="bg2"/>
              </a:buClr>
              <a:defRPr b="0" i="0">
                <a:latin typeface="Verdana" panose="020B0604030504040204" pitchFamily="34" charset="0"/>
              </a:defRPr>
            </a:lvl3pPr>
            <a:lvl4pPr>
              <a:lnSpc>
                <a:spcPts val="3000"/>
              </a:lnSpc>
              <a:spcBef>
                <a:spcPts val="600"/>
              </a:spcBef>
              <a:buClr>
                <a:schemeClr val="bg2"/>
              </a:buClr>
              <a:defRPr b="0" i="0">
                <a:latin typeface="Verdana" panose="020B0604030504040204" pitchFamily="34" charset="0"/>
              </a:defRPr>
            </a:lvl4pPr>
            <a:lvl5pPr>
              <a:lnSpc>
                <a:spcPts val="3000"/>
              </a:lnSpc>
              <a:spcBef>
                <a:spcPts val="600"/>
              </a:spcBef>
              <a:buClr>
                <a:schemeClr val="bg2"/>
              </a:buClr>
              <a:defRPr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857818" y="6352253"/>
            <a:ext cx="1130967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101956F-6DE9-426C-BD3D-CC32A9BF2148}" type="datetimeFigureOut">
              <a:rPr lang="en-US" smtClean="0">
                <a:solidFill>
                  <a:srgbClr val="000000"/>
                </a:solidFill>
              </a:rPr>
              <a:pPr/>
              <a:t>10/9/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211396" y="6352253"/>
            <a:ext cx="4066419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491077" y="6352253"/>
            <a:ext cx="709863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5D9D2F-D1EB-4B19-8F40-357FCE57DC4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859F4E47-0C0F-49AF-8BB1-126FB76339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4001295"/>
            <a:ext cx="4278923" cy="285670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1AD3F253-C78F-4F52-8CB5-C96ABE6FBF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14202" y="6081482"/>
            <a:ext cx="1595661" cy="549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39705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E0C89D9B-23ED-4A54-98C6-9C89AF38D1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35759" y="3676007"/>
            <a:ext cx="8356241" cy="318199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09D19F7D-6D2D-46B3-ABCB-DF9E0C604F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6633" r="-3402"/>
          <a:stretch/>
        </p:blipFill>
        <p:spPr>
          <a:xfrm>
            <a:off x="10382022" y="6015789"/>
            <a:ext cx="1662819" cy="642942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3137" y="6356350"/>
            <a:ext cx="1130967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101956F-6DE9-426C-BD3D-CC32A9BF2148}" type="datetimeFigureOut">
              <a:rPr lang="en-US" smtClean="0">
                <a:solidFill>
                  <a:srgbClr val="000000"/>
                </a:solidFill>
              </a:rPr>
              <a:pPr/>
              <a:t>10/9/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696453" y="6356350"/>
            <a:ext cx="4994027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837639" y="6356350"/>
            <a:ext cx="709863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5D9D2F-D1EB-4B19-8F40-357FCE57DC4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="" xmlns:a16="http://schemas.microsoft.com/office/drawing/2014/main" id="{5DDAFC77-DA2F-4B3E-A991-3423F540E2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137" y="334537"/>
            <a:ext cx="10158663" cy="1066035"/>
          </a:xfrm>
          <a:prstGeom prst="rect">
            <a:avLst/>
          </a:prstGeom>
        </p:spPr>
        <p:txBody>
          <a:bodyPr/>
          <a:lstStyle>
            <a:lvl1pPr>
              <a:defRPr sz="4000" b="0" i="0">
                <a:latin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35167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33137" y="6356350"/>
            <a:ext cx="1130967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101956F-6DE9-426C-BD3D-CC32A9BF2148}" type="datetimeFigureOut">
              <a:rPr lang="en-US" smtClean="0">
                <a:solidFill>
                  <a:srgbClr val="000000"/>
                </a:solidFill>
              </a:rPr>
              <a:pPr/>
              <a:t>10/9/2017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696453" y="6356350"/>
            <a:ext cx="7614363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439911" y="6356350"/>
            <a:ext cx="709863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05D9D2F-D1EB-4B19-8F40-357FCE57DC4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="" xmlns:a16="http://schemas.microsoft.com/office/drawing/2014/main" id="{00F5513A-E3AF-4279-BD82-F6037EE631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3137" y="1400572"/>
            <a:ext cx="11333747" cy="4776391"/>
          </a:xfrm>
          <a:prstGeom prst="rect">
            <a:avLst/>
          </a:prstGeom>
        </p:spPr>
        <p:txBody>
          <a:bodyPr/>
          <a:lstStyle>
            <a:lvl1pPr>
              <a:lnSpc>
                <a:spcPts val="3000"/>
              </a:lnSpc>
              <a:spcBef>
                <a:spcPts val="600"/>
              </a:spcBef>
              <a:buClr>
                <a:schemeClr val="bg2"/>
              </a:buClr>
              <a:defRPr b="0" i="0">
                <a:latin typeface="Verdana" panose="020B0604030504040204" pitchFamily="34" charset="0"/>
              </a:defRPr>
            </a:lvl1pPr>
            <a:lvl2pPr>
              <a:lnSpc>
                <a:spcPts val="3000"/>
              </a:lnSpc>
              <a:spcBef>
                <a:spcPts val="600"/>
              </a:spcBef>
              <a:buClr>
                <a:schemeClr val="bg2"/>
              </a:buClr>
              <a:defRPr b="0" i="0">
                <a:latin typeface="Verdana" panose="020B0604030504040204" pitchFamily="34" charset="0"/>
              </a:defRPr>
            </a:lvl2pPr>
            <a:lvl3pPr>
              <a:lnSpc>
                <a:spcPts val="3000"/>
              </a:lnSpc>
              <a:spcBef>
                <a:spcPts val="600"/>
              </a:spcBef>
              <a:buClr>
                <a:schemeClr val="bg2"/>
              </a:buClr>
              <a:defRPr b="0" i="0">
                <a:latin typeface="Verdana" panose="020B0604030504040204" pitchFamily="34" charset="0"/>
              </a:defRPr>
            </a:lvl3pPr>
            <a:lvl4pPr>
              <a:lnSpc>
                <a:spcPts val="3000"/>
              </a:lnSpc>
              <a:spcBef>
                <a:spcPts val="600"/>
              </a:spcBef>
              <a:buClr>
                <a:schemeClr val="bg2"/>
              </a:buClr>
              <a:defRPr b="0" i="0">
                <a:latin typeface="Verdana" panose="020B0604030504040204" pitchFamily="34" charset="0"/>
              </a:defRPr>
            </a:lvl4pPr>
            <a:lvl5pPr>
              <a:lnSpc>
                <a:spcPts val="3000"/>
              </a:lnSpc>
              <a:spcBef>
                <a:spcPts val="600"/>
              </a:spcBef>
              <a:buClr>
                <a:schemeClr val="bg2"/>
              </a:buClr>
              <a:defRPr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1">
            <a:extLst>
              <a:ext uri="{FF2B5EF4-FFF2-40B4-BE49-F238E27FC236}">
                <a16:creationId xmlns="" xmlns:a16="http://schemas.microsoft.com/office/drawing/2014/main" id="{82AE3379-D6DB-4078-B490-830C372432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137" y="334537"/>
            <a:ext cx="10158663" cy="1066035"/>
          </a:xfrm>
          <a:prstGeom prst="rect">
            <a:avLst/>
          </a:prstGeom>
        </p:spPr>
        <p:txBody>
          <a:bodyPr/>
          <a:lstStyle>
            <a:lvl1pPr>
              <a:defRPr sz="4000" b="0" i="0">
                <a:latin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="" xmlns:a16="http://schemas.microsoft.com/office/drawing/2014/main" id="{5C7BE3F8-A05C-41D3-939E-281C5AD165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14202" y="6081482"/>
            <a:ext cx="1595661" cy="549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1441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7486886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MC-NA Master -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E607773-F897-4754-8F11-79A4F8DBED64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5782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0432C8-F68A-4EFB-8BCE-FAC9DC0014A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 userDrawn="1"/>
        </p:nvSpPr>
        <p:spPr>
          <a:xfrm>
            <a:off x="914400" y="2553514"/>
            <a:ext cx="10363200" cy="1470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2400" kern="1200" baseline="0">
                <a:solidFill>
                  <a:schemeClr val="tx1"/>
                </a:solidFill>
                <a:latin typeface="Verdana" panose="020B0604030504040204" pitchFamily="34" charset="0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kumimoji="1" sz="4400">
                <a:solidFill>
                  <a:schemeClr val="tx1"/>
                </a:solidFill>
                <a:latin typeface="Calibri" pitchFamily="34" charset="0"/>
                <a:ea typeface="ＭＳ Ｐゴシック" pitchFamily="50" charset="-128"/>
              </a:defRPr>
            </a:lvl9pPr>
          </a:lstStyle>
          <a:p>
            <a:pPr algn="l"/>
            <a:endParaRPr lang="en-US" dirty="0" smtClean="0">
              <a:solidFill>
                <a:prstClr val="black"/>
              </a:solidFill>
            </a:endParaRPr>
          </a:p>
          <a:p>
            <a:pPr algn="l"/>
            <a:endParaRPr lang="en-US" dirty="0" smtClean="0">
              <a:solidFill>
                <a:prstClr val="black"/>
              </a:solidFill>
            </a:endParaRPr>
          </a:p>
          <a:p>
            <a:pPr algn="l"/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15511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85606-8361-4CF3-9BE9-08824437829E}" type="datetimeFigureOut">
              <a:rPr lang="en-US" smtClean="0"/>
              <a:t>10/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494829-1FBB-4967-895A-E92E5DD790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988785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8739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kumimoji="1" lang="ja-JP" altLang="en-US" smtClean="0"/>
              <a:t>マスター タイトルの書式設定</a:t>
            </a:r>
            <a:endParaRPr kumimoji="1" lang="ja-JP" altLang="en-US"/>
          </a:p>
        </p:txBody>
      </p:sp>
      <p:sp>
        <p:nvSpPr>
          <p:cNvPr id="9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8096251" y="6475414"/>
            <a:ext cx="753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0">
                <a:solidFill>
                  <a:prstClr val="white"/>
                </a:solidFill>
                <a:latin typeface="+mj-lt"/>
                <a:ea typeface="HGS創英角ｺﾞｼｯｸUB" pitchFamily="50" charset="-128"/>
              </a:defRPr>
            </a:lvl1pPr>
          </a:lstStyle>
          <a:p>
            <a:pPr>
              <a:defRPr/>
            </a:pPr>
            <a:fld id="{4ACD3691-BFF8-4E2F-A474-430EA782668C}" type="slidenum">
              <a:rPr lang="ja-JP" altLang="en-US" sz="1200" smtClean="0"/>
              <a:pPr>
                <a:defRPr/>
              </a:pPr>
              <a:t>‹#›</a:t>
            </a:fld>
            <a:endParaRPr lang="ja-JP" altLang="en-US" sz="1200" dirty="0"/>
          </a:p>
        </p:txBody>
      </p:sp>
      <p:sp>
        <p:nvSpPr>
          <p:cNvPr id="10" name="フッター プレースホルダー 2"/>
          <p:cNvSpPr>
            <a:spLocks noGrp="1"/>
          </p:cNvSpPr>
          <p:nvPr>
            <p:ph type="ftr" sz="quarter" idx="3"/>
          </p:nvPr>
        </p:nvSpPr>
        <p:spPr>
          <a:xfrm>
            <a:off x="3536947" y="6478589"/>
            <a:ext cx="4464052" cy="365125"/>
          </a:xfrm>
          <a:prstGeom prst="rect">
            <a:avLst/>
          </a:prstGeom>
        </p:spPr>
        <p:txBody>
          <a:bodyPr anchor="ctr" anchorCtr="0"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 algn="l"/>
            <a:r>
              <a:rPr lang="en-US" altLang="ja-JP" dirty="0" smtClean="0">
                <a:solidFill>
                  <a:prstClr val="white"/>
                </a:solidFill>
              </a:rPr>
              <a:t>Performance Committee, Jan 15</a:t>
            </a:r>
            <a:r>
              <a:rPr lang="en-US" altLang="ja-JP" baseline="30000" dirty="0" smtClean="0">
                <a:solidFill>
                  <a:prstClr val="white"/>
                </a:solidFill>
              </a:rPr>
              <a:t>th</a:t>
            </a:r>
            <a:r>
              <a:rPr lang="en-US" altLang="ja-JP" dirty="0" smtClean="0">
                <a:solidFill>
                  <a:prstClr val="white"/>
                </a:solidFill>
              </a:rPr>
              <a:t>, 2014</a:t>
            </a:r>
            <a:endParaRPr lang="en-US" altLang="ja-JP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342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07037D-F628-484A-833C-97C55DFF868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4A1200-5667-4828-A705-F2E71430479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76122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07037D-F628-484A-833C-97C55DFF868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4A1200-5667-4828-A705-F2E71430479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47958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07037D-F628-484A-833C-97C55DFF868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4A1200-5667-4828-A705-F2E71430479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519446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07037D-F628-484A-833C-97C55DFF868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4A1200-5667-4828-A705-F2E71430479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2022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07037D-F628-484A-833C-97C55DFF868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4A1200-5667-4828-A705-F2E71430479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218745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07037D-F628-484A-833C-97C55DFF868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4A1200-5667-4828-A705-F2E71430479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780844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07037D-F628-484A-833C-97C55DFF868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4A1200-5667-4828-A705-F2E71430479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7925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07037D-F628-484A-833C-97C55DFF868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4A1200-5667-4828-A705-F2E71430479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26466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85606-8361-4CF3-9BE9-08824437829E}" type="datetimeFigureOut">
              <a:rPr lang="en-US" smtClean="0"/>
              <a:t>10/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494829-1FBB-4967-895A-E92E5DD790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271773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07037D-F628-484A-833C-97C55DFF868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4A1200-5667-4828-A705-F2E71430479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864487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07037D-F628-484A-833C-97C55DFF868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4A1200-5667-4828-A705-F2E71430479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570215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07037D-F628-484A-833C-97C55DFF868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4A1200-5667-4828-A705-F2E71430479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198742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MC-NA Master -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509"/>
          <a:stretch/>
        </p:blipFill>
        <p:spPr>
          <a:xfrm>
            <a:off x="2567608" y="196800"/>
            <a:ext cx="9624392" cy="6464401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E607773-F897-4754-8F11-79A4F8DBED64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6" name="図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4833"/>
          <a:stretch/>
        </p:blipFill>
        <p:spPr>
          <a:xfrm>
            <a:off x="0" y="196799"/>
            <a:ext cx="3215680" cy="6464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10218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MC-NA Master -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E607773-F897-4754-8F11-79A4F8DBED6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555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717" y="1"/>
            <a:ext cx="9395883" cy="911225"/>
          </a:xfrm>
          <a:prstGeom prst="rect">
            <a:avLst/>
          </a:prstGeom>
        </p:spPr>
        <p:txBody>
          <a:bodyPr/>
          <a:lstStyle>
            <a:lvl1pPr algn="l"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434" y="1149351"/>
            <a:ext cx="11599333" cy="5078413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472597" y="6497933"/>
            <a:ext cx="7194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BE607773-F897-4754-8F11-79A4F8DBED6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5596658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85606-8361-4CF3-9BE9-08824437829E}" type="datetimeFigureOut">
              <a:rPr lang="en-US" smtClean="0"/>
              <a:t>10/9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494829-1FBB-4967-895A-E92E5DD790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3651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85606-8361-4CF3-9BE9-08824437829E}" type="datetimeFigureOut">
              <a:rPr lang="en-US" smtClean="0"/>
              <a:t>10/9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494829-1FBB-4967-895A-E92E5DD790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16040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85606-8361-4CF3-9BE9-08824437829E}" type="datetimeFigureOut">
              <a:rPr lang="en-US" smtClean="0"/>
              <a:t>10/9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494829-1FBB-4967-895A-E92E5DD790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31667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85606-8361-4CF3-9BE9-08824437829E}" type="datetimeFigureOut">
              <a:rPr lang="en-US" smtClean="0"/>
              <a:t>10/9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494829-1FBB-4967-895A-E92E5DD790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76850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85606-8361-4CF3-9BE9-08824437829E}" type="datetimeFigureOut">
              <a:rPr lang="en-US" smtClean="0"/>
              <a:t>10/9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494829-1FBB-4967-895A-E92E5DD790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83068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885606-8361-4CF3-9BE9-08824437829E}" type="datetimeFigureOut">
              <a:rPr lang="en-US" smtClean="0"/>
              <a:t>10/9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494829-1FBB-4967-895A-E92E5DD790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79606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slideLayout" Target="../slideLayouts/slideLayout35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4.xml"/><Relationship Id="rId9" Type="http://schemas.openxmlformats.org/officeDocument/2006/relationships/image" Target="../media/image8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885606-8361-4CF3-9BE9-08824437829E}" type="datetimeFigureOut">
              <a:rPr lang="en-US" smtClean="0"/>
              <a:t>10/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494829-1FBB-4967-895A-E92E5DD790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4337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8646B3FB-DD1E-47BE-9676-CA1F2637C9BC}"/>
              </a:ext>
            </a:extLst>
          </p:cNvPr>
          <p:cNvSpPr/>
          <p:nvPr userDrawn="1"/>
        </p:nvSpPr>
        <p:spPr>
          <a:xfrm>
            <a:off x="0" y="2542032"/>
            <a:ext cx="12192000" cy="431596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="" xmlns:a16="http://schemas.microsoft.com/office/drawing/2014/main" id="{3DE44693-8A33-4A19-9130-D4E3CB011D63}"/>
              </a:ext>
            </a:extLst>
          </p:cNvPr>
          <p:cNvSpPr/>
          <p:nvPr userDrawn="1"/>
        </p:nvSpPr>
        <p:spPr>
          <a:xfrm>
            <a:off x="-1674" y="-957"/>
            <a:ext cx="12201612" cy="6858957"/>
          </a:xfrm>
          <a:custGeom>
            <a:avLst/>
            <a:gdLst>
              <a:gd name="connsiteX0" fmla="*/ 3665 w 12200746"/>
              <a:gd name="connsiteY0" fmla="*/ 0 h 6892824"/>
              <a:gd name="connsiteX1" fmla="*/ 12194522 w 12200746"/>
              <a:gd name="connsiteY1" fmla="*/ 34862 h 6892824"/>
              <a:gd name="connsiteX2" fmla="*/ 12197498 w 12200746"/>
              <a:gd name="connsiteY2" fmla="*/ 5268659 h 6892824"/>
              <a:gd name="connsiteX3" fmla="*/ 10667875 w 12200746"/>
              <a:gd name="connsiteY3" fmla="*/ 6645819 h 6892824"/>
              <a:gd name="connsiteX4" fmla="*/ 10300501 w 12200746"/>
              <a:gd name="connsiteY4" fmla="*/ 6892824 h 6892824"/>
              <a:gd name="connsiteX5" fmla="*/ 2287341 w 12200746"/>
              <a:gd name="connsiteY5" fmla="*/ 6892824 h 6892824"/>
              <a:gd name="connsiteX6" fmla="*/ 1916506 w 12200746"/>
              <a:gd name="connsiteY6" fmla="*/ 6639269 h 6892824"/>
              <a:gd name="connsiteX7" fmla="*/ 0 w 12200746"/>
              <a:gd name="connsiteY7" fmla="*/ 4589145 h 6892824"/>
              <a:gd name="connsiteX0" fmla="*/ 297 w 12201612"/>
              <a:gd name="connsiteY0" fmla="*/ 0 h 6858957"/>
              <a:gd name="connsiteX1" fmla="*/ 12195388 w 12201612"/>
              <a:gd name="connsiteY1" fmla="*/ 995 h 6858957"/>
              <a:gd name="connsiteX2" fmla="*/ 12198364 w 12201612"/>
              <a:gd name="connsiteY2" fmla="*/ 5234792 h 6858957"/>
              <a:gd name="connsiteX3" fmla="*/ 10668741 w 12201612"/>
              <a:gd name="connsiteY3" fmla="*/ 6611952 h 6858957"/>
              <a:gd name="connsiteX4" fmla="*/ 10301367 w 12201612"/>
              <a:gd name="connsiteY4" fmla="*/ 6858957 h 6858957"/>
              <a:gd name="connsiteX5" fmla="*/ 2288207 w 12201612"/>
              <a:gd name="connsiteY5" fmla="*/ 6858957 h 6858957"/>
              <a:gd name="connsiteX6" fmla="*/ 1917372 w 12201612"/>
              <a:gd name="connsiteY6" fmla="*/ 6605402 h 6858957"/>
              <a:gd name="connsiteX7" fmla="*/ 866 w 12201612"/>
              <a:gd name="connsiteY7" fmla="*/ 4555278 h 6858957"/>
              <a:gd name="connsiteX8" fmla="*/ 297 w 12201612"/>
              <a:gd name="connsiteY8" fmla="*/ 0 h 68589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01612" h="6858957">
                <a:moveTo>
                  <a:pt x="297" y="0"/>
                </a:moveTo>
                <a:lnTo>
                  <a:pt x="12195388" y="995"/>
                </a:lnTo>
                <a:cubicBezTo>
                  <a:pt x="12186857" y="3482954"/>
                  <a:pt x="12209754" y="3470191"/>
                  <a:pt x="12198364" y="5234792"/>
                </a:cubicBezTo>
                <a:cubicBezTo>
                  <a:pt x="11792061" y="5711042"/>
                  <a:pt x="11267798" y="6188129"/>
                  <a:pt x="10668741" y="6611952"/>
                </a:cubicBezTo>
                <a:lnTo>
                  <a:pt x="10301367" y="6858957"/>
                </a:lnTo>
                <a:lnTo>
                  <a:pt x="2288207" y="6858957"/>
                </a:lnTo>
                <a:lnTo>
                  <a:pt x="1917372" y="6605402"/>
                </a:lnTo>
                <a:cubicBezTo>
                  <a:pt x="1066268" y="5986311"/>
                  <a:pt x="412940" y="5248698"/>
                  <a:pt x="866" y="4555278"/>
                </a:cubicBezTo>
                <a:cubicBezTo>
                  <a:pt x="2088" y="3025563"/>
                  <a:pt x="-925" y="1529715"/>
                  <a:pt x="297" y="0"/>
                </a:cubicBezTo>
                <a:close/>
              </a:path>
            </a:pathLst>
          </a:custGeom>
          <a:gradFill flip="none" rotWithShape="1">
            <a:gsLst>
              <a:gs pos="0">
                <a:srgbClr val="E4E5E5"/>
              </a:gs>
              <a:gs pos="100000">
                <a:srgbClr val="E6E8E8"/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="" xmlns:a16="http://schemas.microsoft.com/office/drawing/2014/main" id="{E30ED63B-7071-4030-8A60-C9B6EED2AA36}"/>
              </a:ext>
            </a:extLst>
          </p:cNvPr>
          <p:cNvSpPr/>
          <p:nvPr userDrawn="1"/>
        </p:nvSpPr>
        <p:spPr>
          <a:xfrm>
            <a:off x="-807" y="3233"/>
            <a:ext cx="12212356" cy="6353081"/>
          </a:xfrm>
          <a:custGeom>
            <a:avLst/>
            <a:gdLst>
              <a:gd name="connsiteX0" fmla="*/ 36576 w 12271248"/>
              <a:gd name="connsiteY0" fmla="*/ 73152 h 6364224"/>
              <a:gd name="connsiteX1" fmla="*/ 36576 w 12271248"/>
              <a:gd name="connsiteY1" fmla="*/ 2871216 h 6364224"/>
              <a:gd name="connsiteX2" fmla="*/ 6126480 w 12271248"/>
              <a:gd name="connsiteY2" fmla="*/ 6364224 h 6364224"/>
              <a:gd name="connsiteX3" fmla="*/ 12252960 w 12271248"/>
              <a:gd name="connsiteY3" fmla="*/ 3547872 h 6364224"/>
              <a:gd name="connsiteX4" fmla="*/ 12271248 w 12271248"/>
              <a:gd name="connsiteY4" fmla="*/ 36576 h 6364224"/>
              <a:gd name="connsiteX5" fmla="*/ 0 w 12271248"/>
              <a:gd name="connsiteY5" fmla="*/ 0 h 6364224"/>
              <a:gd name="connsiteX6" fmla="*/ 73152 w 12271248"/>
              <a:gd name="connsiteY6" fmla="*/ 128016 h 6364224"/>
              <a:gd name="connsiteX0" fmla="*/ 36576 w 12271248"/>
              <a:gd name="connsiteY0" fmla="*/ 73152 h 6364224"/>
              <a:gd name="connsiteX1" fmla="*/ 36576 w 12271248"/>
              <a:gd name="connsiteY1" fmla="*/ 2871216 h 6364224"/>
              <a:gd name="connsiteX2" fmla="*/ 6126480 w 12271248"/>
              <a:gd name="connsiteY2" fmla="*/ 6364224 h 6364224"/>
              <a:gd name="connsiteX3" fmla="*/ 12252960 w 12271248"/>
              <a:gd name="connsiteY3" fmla="*/ 3547872 h 6364224"/>
              <a:gd name="connsiteX4" fmla="*/ 12271248 w 12271248"/>
              <a:gd name="connsiteY4" fmla="*/ 36576 h 6364224"/>
              <a:gd name="connsiteX5" fmla="*/ 0 w 12271248"/>
              <a:gd name="connsiteY5" fmla="*/ 0 h 6364224"/>
              <a:gd name="connsiteX6" fmla="*/ 73152 w 12271248"/>
              <a:gd name="connsiteY6" fmla="*/ 128016 h 6364224"/>
              <a:gd name="connsiteX0" fmla="*/ 36576 w 12271248"/>
              <a:gd name="connsiteY0" fmla="*/ 73152 h 6364224"/>
              <a:gd name="connsiteX1" fmla="*/ 36576 w 12271248"/>
              <a:gd name="connsiteY1" fmla="*/ 2871216 h 6364224"/>
              <a:gd name="connsiteX2" fmla="*/ 6126480 w 12271248"/>
              <a:gd name="connsiteY2" fmla="*/ 6364224 h 6364224"/>
              <a:gd name="connsiteX3" fmla="*/ 12252960 w 12271248"/>
              <a:gd name="connsiteY3" fmla="*/ 3547872 h 6364224"/>
              <a:gd name="connsiteX4" fmla="*/ 12271248 w 12271248"/>
              <a:gd name="connsiteY4" fmla="*/ 36576 h 6364224"/>
              <a:gd name="connsiteX5" fmla="*/ 0 w 12271248"/>
              <a:gd name="connsiteY5" fmla="*/ 0 h 6364224"/>
              <a:gd name="connsiteX6" fmla="*/ 73152 w 12271248"/>
              <a:gd name="connsiteY6" fmla="*/ 128016 h 6364224"/>
              <a:gd name="connsiteX0" fmla="*/ 36576 w 12271248"/>
              <a:gd name="connsiteY0" fmla="*/ 73152 h 6364224"/>
              <a:gd name="connsiteX1" fmla="*/ 36576 w 12271248"/>
              <a:gd name="connsiteY1" fmla="*/ 2871216 h 6364224"/>
              <a:gd name="connsiteX2" fmla="*/ 6126480 w 12271248"/>
              <a:gd name="connsiteY2" fmla="*/ 6364224 h 6364224"/>
              <a:gd name="connsiteX3" fmla="*/ 12252960 w 12271248"/>
              <a:gd name="connsiteY3" fmla="*/ 3547872 h 6364224"/>
              <a:gd name="connsiteX4" fmla="*/ 12271248 w 12271248"/>
              <a:gd name="connsiteY4" fmla="*/ 36576 h 6364224"/>
              <a:gd name="connsiteX5" fmla="*/ 0 w 12271248"/>
              <a:gd name="connsiteY5" fmla="*/ 0 h 6364224"/>
              <a:gd name="connsiteX6" fmla="*/ 73152 w 12271248"/>
              <a:gd name="connsiteY6" fmla="*/ 128016 h 6364224"/>
              <a:gd name="connsiteX0" fmla="*/ 36576 w 12271248"/>
              <a:gd name="connsiteY0" fmla="*/ 73152 h 6381867"/>
              <a:gd name="connsiteX1" fmla="*/ 36576 w 12271248"/>
              <a:gd name="connsiteY1" fmla="*/ 2871216 h 6381867"/>
              <a:gd name="connsiteX2" fmla="*/ 6126480 w 12271248"/>
              <a:gd name="connsiteY2" fmla="*/ 6364224 h 6381867"/>
              <a:gd name="connsiteX3" fmla="*/ 12252960 w 12271248"/>
              <a:gd name="connsiteY3" fmla="*/ 3547872 h 6381867"/>
              <a:gd name="connsiteX4" fmla="*/ 12271248 w 12271248"/>
              <a:gd name="connsiteY4" fmla="*/ 36576 h 6381867"/>
              <a:gd name="connsiteX5" fmla="*/ 0 w 12271248"/>
              <a:gd name="connsiteY5" fmla="*/ 0 h 6381867"/>
              <a:gd name="connsiteX6" fmla="*/ 73152 w 12271248"/>
              <a:gd name="connsiteY6" fmla="*/ 128016 h 6381867"/>
              <a:gd name="connsiteX0" fmla="*/ 36576 w 12271248"/>
              <a:gd name="connsiteY0" fmla="*/ 73152 h 6386983"/>
              <a:gd name="connsiteX1" fmla="*/ 36576 w 12271248"/>
              <a:gd name="connsiteY1" fmla="*/ 2871216 h 6386983"/>
              <a:gd name="connsiteX2" fmla="*/ 6126480 w 12271248"/>
              <a:gd name="connsiteY2" fmla="*/ 6364224 h 6386983"/>
              <a:gd name="connsiteX3" fmla="*/ 12252960 w 12271248"/>
              <a:gd name="connsiteY3" fmla="*/ 3547872 h 6386983"/>
              <a:gd name="connsiteX4" fmla="*/ 12271248 w 12271248"/>
              <a:gd name="connsiteY4" fmla="*/ 36576 h 6386983"/>
              <a:gd name="connsiteX5" fmla="*/ 0 w 12271248"/>
              <a:gd name="connsiteY5" fmla="*/ 0 h 6386983"/>
              <a:gd name="connsiteX6" fmla="*/ 73152 w 12271248"/>
              <a:gd name="connsiteY6" fmla="*/ 128016 h 6386983"/>
              <a:gd name="connsiteX0" fmla="*/ 36576 w 12271248"/>
              <a:gd name="connsiteY0" fmla="*/ 73152 h 6386983"/>
              <a:gd name="connsiteX1" fmla="*/ 36576 w 12271248"/>
              <a:gd name="connsiteY1" fmla="*/ 2871216 h 6386983"/>
              <a:gd name="connsiteX2" fmla="*/ 6126480 w 12271248"/>
              <a:gd name="connsiteY2" fmla="*/ 6364224 h 6386983"/>
              <a:gd name="connsiteX3" fmla="*/ 12252960 w 12271248"/>
              <a:gd name="connsiteY3" fmla="*/ 3547872 h 6386983"/>
              <a:gd name="connsiteX4" fmla="*/ 12271248 w 12271248"/>
              <a:gd name="connsiteY4" fmla="*/ 36576 h 6386983"/>
              <a:gd name="connsiteX5" fmla="*/ 0 w 12271248"/>
              <a:gd name="connsiteY5" fmla="*/ 0 h 6386983"/>
              <a:gd name="connsiteX0" fmla="*/ 37389 w 12272061"/>
              <a:gd name="connsiteY0" fmla="*/ 73152 h 6386983"/>
              <a:gd name="connsiteX1" fmla="*/ 0 w 12272061"/>
              <a:gd name="connsiteY1" fmla="*/ 2862644 h 6386983"/>
              <a:gd name="connsiteX2" fmla="*/ 6127293 w 12272061"/>
              <a:gd name="connsiteY2" fmla="*/ 6364224 h 6386983"/>
              <a:gd name="connsiteX3" fmla="*/ 12253773 w 12272061"/>
              <a:gd name="connsiteY3" fmla="*/ 3547872 h 6386983"/>
              <a:gd name="connsiteX4" fmla="*/ 12272061 w 12272061"/>
              <a:gd name="connsiteY4" fmla="*/ 36576 h 6386983"/>
              <a:gd name="connsiteX5" fmla="*/ 813 w 12272061"/>
              <a:gd name="connsiteY5" fmla="*/ 0 h 6386983"/>
              <a:gd name="connsiteX0" fmla="*/ 0 w 12272061"/>
              <a:gd name="connsiteY0" fmla="*/ 2862644 h 6386983"/>
              <a:gd name="connsiteX1" fmla="*/ 6127293 w 12272061"/>
              <a:gd name="connsiteY1" fmla="*/ 6364224 h 6386983"/>
              <a:gd name="connsiteX2" fmla="*/ 12253773 w 12272061"/>
              <a:gd name="connsiteY2" fmla="*/ 3547872 h 6386983"/>
              <a:gd name="connsiteX3" fmla="*/ 12272061 w 12272061"/>
              <a:gd name="connsiteY3" fmla="*/ 36576 h 6386983"/>
              <a:gd name="connsiteX4" fmla="*/ 813 w 12272061"/>
              <a:gd name="connsiteY4" fmla="*/ 0 h 6386983"/>
              <a:gd name="connsiteX0" fmla="*/ 0 w 12254805"/>
              <a:gd name="connsiteY0" fmla="*/ 2877503 h 6401842"/>
              <a:gd name="connsiteX1" fmla="*/ 6127293 w 12254805"/>
              <a:gd name="connsiteY1" fmla="*/ 6379083 h 6401842"/>
              <a:gd name="connsiteX2" fmla="*/ 12253773 w 12254805"/>
              <a:gd name="connsiteY2" fmla="*/ 3562731 h 6401842"/>
              <a:gd name="connsiteX3" fmla="*/ 12254805 w 12254805"/>
              <a:gd name="connsiteY3" fmla="*/ 0 h 6401842"/>
              <a:gd name="connsiteX4" fmla="*/ 813 w 12254805"/>
              <a:gd name="connsiteY4" fmla="*/ 14859 h 6401842"/>
              <a:gd name="connsiteX0" fmla="*/ 0 w 12254805"/>
              <a:gd name="connsiteY0" fmla="*/ 2877503 h 6401842"/>
              <a:gd name="connsiteX1" fmla="*/ 6127293 w 12254805"/>
              <a:gd name="connsiteY1" fmla="*/ 6379083 h 6401842"/>
              <a:gd name="connsiteX2" fmla="*/ 12253773 w 12254805"/>
              <a:gd name="connsiteY2" fmla="*/ 3562731 h 6401842"/>
              <a:gd name="connsiteX3" fmla="*/ 12254805 w 12254805"/>
              <a:gd name="connsiteY3" fmla="*/ 0 h 6401842"/>
              <a:gd name="connsiteX4" fmla="*/ 813 w 12254805"/>
              <a:gd name="connsiteY4" fmla="*/ 14859 h 6401842"/>
              <a:gd name="connsiteX0" fmla="*/ 0 w 12276785"/>
              <a:gd name="connsiteY0" fmla="*/ 2877503 h 6401806"/>
              <a:gd name="connsiteX1" fmla="*/ 6127293 w 12276785"/>
              <a:gd name="connsiteY1" fmla="*/ 6379083 h 6401806"/>
              <a:gd name="connsiteX2" fmla="*/ 12276782 w 12276785"/>
              <a:gd name="connsiteY2" fmla="*/ 3559873 h 6401806"/>
              <a:gd name="connsiteX3" fmla="*/ 12254805 w 12276785"/>
              <a:gd name="connsiteY3" fmla="*/ 0 h 6401806"/>
              <a:gd name="connsiteX4" fmla="*/ 813 w 12276785"/>
              <a:gd name="connsiteY4" fmla="*/ 14859 h 6401806"/>
              <a:gd name="connsiteX0" fmla="*/ 0 w 12288049"/>
              <a:gd name="connsiteY0" fmla="*/ 2877503 h 6401806"/>
              <a:gd name="connsiteX1" fmla="*/ 6127293 w 12288049"/>
              <a:gd name="connsiteY1" fmla="*/ 6379083 h 6401806"/>
              <a:gd name="connsiteX2" fmla="*/ 12276782 w 12288049"/>
              <a:gd name="connsiteY2" fmla="*/ 3559873 h 6401806"/>
              <a:gd name="connsiteX3" fmla="*/ 12254805 w 12288049"/>
              <a:gd name="connsiteY3" fmla="*/ 0 h 6401806"/>
              <a:gd name="connsiteX4" fmla="*/ 813 w 12288049"/>
              <a:gd name="connsiteY4" fmla="*/ 14859 h 6401806"/>
              <a:gd name="connsiteX0" fmla="*/ 0 w 12292467"/>
              <a:gd name="connsiteY0" fmla="*/ 2862644 h 6386947"/>
              <a:gd name="connsiteX1" fmla="*/ 6127293 w 12292467"/>
              <a:gd name="connsiteY1" fmla="*/ 6364224 h 6386947"/>
              <a:gd name="connsiteX2" fmla="*/ 12276782 w 12292467"/>
              <a:gd name="connsiteY2" fmla="*/ 3545014 h 6386947"/>
              <a:gd name="connsiteX3" fmla="*/ 12277814 w 12292467"/>
              <a:gd name="connsiteY3" fmla="*/ 36577 h 6386947"/>
              <a:gd name="connsiteX4" fmla="*/ 813 w 12292467"/>
              <a:gd name="connsiteY4" fmla="*/ 0 h 6386947"/>
              <a:gd name="connsiteX0" fmla="*/ 0 w 12288461"/>
              <a:gd name="connsiteY0" fmla="*/ 2874645 h 6398948"/>
              <a:gd name="connsiteX1" fmla="*/ 6127293 w 12288461"/>
              <a:gd name="connsiteY1" fmla="*/ 6376225 h 6398948"/>
              <a:gd name="connsiteX2" fmla="*/ 12276782 w 12288461"/>
              <a:gd name="connsiteY2" fmla="*/ 3557015 h 6398948"/>
              <a:gd name="connsiteX3" fmla="*/ 12257681 w 12288461"/>
              <a:gd name="connsiteY3" fmla="*/ 0 h 6398948"/>
              <a:gd name="connsiteX4" fmla="*/ 813 w 12288461"/>
              <a:gd name="connsiteY4" fmla="*/ 12001 h 6398948"/>
              <a:gd name="connsiteX0" fmla="*/ 0 w 12291737"/>
              <a:gd name="connsiteY0" fmla="*/ 2862644 h 6386947"/>
              <a:gd name="connsiteX1" fmla="*/ 6127293 w 12291737"/>
              <a:gd name="connsiteY1" fmla="*/ 6364224 h 6386947"/>
              <a:gd name="connsiteX2" fmla="*/ 12276782 w 12291737"/>
              <a:gd name="connsiteY2" fmla="*/ 3545014 h 6386947"/>
              <a:gd name="connsiteX3" fmla="*/ 12274938 w 12291737"/>
              <a:gd name="connsiteY3" fmla="*/ 36577 h 6386947"/>
              <a:gd name="connsiteX4" fmla="*/ 813 w 12291737"/>
              <a:gd name="connsiteY4" fmla="*/ 0 h 6386947"/>
              <a:gd name="connsiteX0" fmla="*/ 0 w 12291737"/>
              <a:gd name="connsiteY0" fmla="*/ 2828778 h 6353081"/>
              <a:gd name="connsiteX1" fmla="*/ 6127293 w 12291737"/>
              <a:gd name="connsiteY1" fmla="*/ 6330358 h 6353081"/>
              <a:gd name="connsiteX2" fmla="*/ 12276782 w 12291737"/>
              <a:gd name="connsiteY2" fmla="*/ 3511148 h 6353081"/>
              <a:gd name="connsiteX3" fmla="*/ 12274938 w 12291737"/>
              <a:gd name="connsiteY3" fmla="*/ 2711 h 6353081"/>
              <a:gd name="connsiteX4" fmla="*/ 9334 w 12291737"/>
              <a:gd name="connsiteY4" fmla="*/ 0 h 63530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91737" h="6353081">
                <a:moveTo>
                  <a:pt x="0" y="2828778"/>
                </a:moveTo>
                <a:cubicBezTo>
                  <a:pt x="1408176" y="4358874"/>
                  <a:pt x="3164637" y="6226726"/>
                  <a:pt x="6127293" y="6330358"/>
                </a:cubicBezTo>
                <a:cubicBezTo>
                  <a:pt x="8443773" y="6562006"/>
                  <a:pt x="10655246" y="4980284"/>
                  <a:pt x="12276782" y="3511148"/>
                </a:cubicBezTo>
                <a:cubicBezTo>
                  <a:pt x="12311639" y="2314999"/>
                  <a:pt x="12274594" y="1198860"/>
                  <a:pt x="12274938" y="2711"/>
                </a:cubicBezTo>
                <a:lnTo>
                  <a:pt x="9334" y="0"/>
                </a:lnTo>
              </a:path>
            </a:pathLst>
          </a:cu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accent6">
                  <a:shade val="100000"/>
                  <a:satMod val="115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</a:defRPr>
            </a:lvl1pPr>
          </a:lstStyle>
          <a:p>
            <a:fld id="{8101956F-6DE9-426C-BD3D-CC32A9BF2148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0/9/2017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</a:defRPr>
            </a:lvl1pPr>
          </a:lstStyle>
          <a:p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</a:defRPr>
            </a:lvl1pPr>
          </a:lstStyle>
          <a:p>
            <a:fld id="{105D9D2F-D1EB-4B19-8F40-357FCE57DC40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9136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Trebuchet MS" panose="020B0603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33CC36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33CC36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33CC36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33CC36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33CC36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07037D-F628-484A-833C-97C55DFF868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4A1200-5667-4828-A705-F2E71430479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17174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図 1"/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29"/>
          <a:stretch/>
        </p:blipFill>
        <p:spPr>
          <a:xfrm>
            <a:off x="2567608" y="6459903"/>
            <a:ext cx="9624392" cy="401418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472597" y="6497933"/>
            <a:ext cx="7194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BE607773-F897-4754-8F11-79A4F8DBED64}" type="slidenum">
              <a:rPr kumimoji="1" lang="en-US" smtClean="0">
                <a:solidFill>
                  <a:prstClr val="white"/>
                </a:solidFill>
              </a:rPr>
              <a:pPr/>
              <a:t>‹#›</a:t>
            </a:fld>
            <a:endParaRPr kumimoji="1" lang="en-US" dirty="0">
              <a:solidFill>
                <a:prstClr val="white"/>
              </a:solidFill>
            </a:endParaRPr>
          </a:p>
        </p:txBody>
      </p:sp>
      <p:pic>
        <p:nvPicPr>
          <p:cNvPr id="7" name="図 1"/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1852"/>
          <a:stretch/>
        </p:blipFill>
        <p:spPr>
          <a:xfrm>
            <a:off x="28469" y="6451882"/>
            <a:ext cx="2999656" cy="412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301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ctr" defTabSz="914400" rtl="0" eaLnBrk="1" latinLnBrk="0" hangingPunct="1"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22.png"/><Relationship Id="rId4" Type="http://schemas.openxmlformats.org/officeDocument/2006/relationships/image" Target="../media/image46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image" Target="../media/image51.jpeg"/><Relationship Id="rId7" Type="http://schemas.openxmlformats.org/officeDocument/2006/relationships/image" Target="../media/image55.png"/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54.png"/><Relationship Id="rId11" Type="http://schemas.openxmlformats.org/officeDocument/2006/relationships/image" Target="../media/image58.png"/><Relationship Id="rId5" Type="http://schemas.openxmlformats.org/officeDocument/2006/relationships/image" Target="../media/image53.jpeg"/><Relationship Id="rId10" Type="http://schemas.openxmlformats.org/officeDocument/2006/relationships/image" Target="../media/image22.png"/><Relationship Id="rId4" Type="http://schemas.openxmlformats.org/officeDocument/2006/relationships/image" Target="../media/image52.png"/><Relationship Id="rId9" Type="http://schemas.openxmlformats.org/officeDocument/2006/relationships/image" Target="../media/image57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jpe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4.pn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0" Type="http://schemas.openxmlformats.org/officeDocument/2006/relationships/image" Target="../media/image18.jpeg"/><Relationship Id="rId4" Type="http://schemas.openxmlformats.org/officeDocument/2006/relationships/image" Target="../media/image12.jpeg"/><Relationship Id="rId9" Type="http://schemas.openxmlformats.org/officeDocument/2006/relationships/image" Target="../media/image17.jpeg"/><Relationship Id="rId14" Type="http://schemas.openxmlformats.org/officeDocument/2006/relationships/image" Target="../media/image2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27.jpeg"/><Relationship Id="rId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e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33.png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37.jpeg"/><Relationship Id="rId7" Type="http://schemas.openxmlformats.org/officeDocument/2006/relationships/image" Target="../media/image41.pn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40.png"/><Relationship Id="rId5" Type="http://schemas.openxmlformats.org/officeDocument/2006/relationships/image" Target="../media/image39.jpeg"/><Relationship Id="rId4" Type="http://schemas.openxmlformats.org/officeDocument/2006/relationships/image" Target="../media/image38.png"/><Relationship Id="rId9" Type="http://schemas.openxmlformats.org/officeDocument/2006/relationships/image" Target="../media/image4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52042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368" y="56365"/>
            <a:ext cx="10158663" cy="573512"/>
          </a:xfrm>
        </p:spPr>
        <p:txBody>
          <a:bodyPr/>
          <a:lstStyle/>
          <a:p>
            <a:r>
              <a:rPr lang="en-US" sz="2800" b="1" dirty="0"/>
              <a:t>Product Concept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695983" y="1005265"/>
            <a:ext cx="10800035" cy="4847471"/>
            <a:chOff x="768573" y="1070372"/>
            <a:chExt cx="10800035" cy="4847471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2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8573" y="1562895"/>
              <a:ext cx="6166297" cy="4354948"/>
            </a:xfrm>
            <a:prstGeom prst="rect">
              <a:avLst/>
            </a:prstGeom>
          </p:spPr>
        </p:pic>
        <p:sp>
          <p:nvSpPr>
            <p:cNvPr id="6" name="Rectangle 5"/>
            <p:cNvSpPr/>
            <p:nvPr/>
          </p:nvSpPr>
          <p:spPr>
            <a:xfrm>
              <a:off x="2083015" y="1070372"/>
              <a:ext cx="8332726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800" b="1" i="1" dirty="0">
                  <a:solidFill>
                    <a:srgbClr val="C4223D"/>
                  </a:solidFill>
                </a:rPr>
                <a:t>Driving the Future of Mobility</a:t>
              </a: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6758722" y="2331954"/>
              <a:ext cx="4809886" cy="3134672"/>
              <a:chOff x="7735635" y="2278503"/>
              <a:chExt cx="3667077" cy="3134672"/>
            </a:xfrm>
          </p:grpSpPr>
          <p:sp>
            <p:nvSpPr>
              <p:cNvPr id="8" name="Rectangle 7"/>
              <p:cNvSpPr/>
              <p:nvPr/>
            </p:nvSpPr>
            <p:spPr>
              <a:xfrm>
                <a:off x="7917323" y="2278503"/>
                <a:ext cx="1568058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600" b="1" dirty="0">
                    <a:solidFill>
                      <a:srgbClr val="000000"/>
                    </a:solidFill>
                  </a:rPr>
                  <a:t>New Styling</a:t>
                </a:r>
                <a:endParaRPr lang="en-US" sz="14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" name="Rectangle 8"/>
              <p:cNvSpPr/>
              <p:nvPr/>
            </p:nvSpPr>
            <p:spPr>
              <a:xfrm>
                <a:off x="7911783" y="3128469"/>
                <a:ext cx="2350323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600" b="1" dirty="0">
                    <a:solidFill>
                      <a:srgbClr val="000000"/>
                    </a:solidFill>
                  </a:rPr>
                  <a:t>Enhanced EV Drive</a:t>
                </a:r>
                <a:endParaRPr lang="en-US" sz="14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" name="Rectangle 9"/>
              <p:cNvSpPr/>
              <p:nvPr/>
            </p:nvSpPr>
            <p:spPr>
              <a:xfrm>
                <a:off x="7906241" y="3978434"/>
                <a:ext cx="3496471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1600" b="1" dirty="0">
                    <a:solidFill>
                      <a:srgbClr val="000000"/>
                    </a:solidFill>
                  </a:rPr>
                  <a:t>Advanced Safety Technology</a:t>
                </a:r>
                <a:endParaRPr lang="en-US" sz="14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" name="Rectangle 10"/>
              <p:cNvSpPr/>
              <p:nvPr/>
            </p:nvSpPr>
            <p:spPr>
              <a:xfrm>
                <a:off x="7900700" y="4828400"/>
                <a:ext cx="3502012" cy="58477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600" b="1" dirty="0">
                    <a:solidFill>
                      <a:srgbClr val="000000"/>
                    </a:solidFill>
                  </a:rPr>
                  <a:t>Step Towards Autonomous Drive</a:t>
                </a:r>
                <a:endParaRPr lang="en-US" sz="14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" name="Isosceles Triangle 11"/>
              <p:cNvSpPr/>
              <p:nvPr/>
            </p:nvSpPr>
            <p:spPr>
              <a:xfrm rot="5400000">
                <a:off x="7722597" y="2370515"/>
                <a:ext cx="191141" cy="165065"/>
              </a:xfrm>
              <a:prstGeom prst="triangle">
                <a:avLst/>
              </a:prstGeom>
              <a:solidFill>
                <a:schemeClr val="tx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" name="Isosceles Triangle 12"/>
              <p:cNvSpPr/>
              <p:nvPr/>
            </p:nvSpPr>
            <p:spPr>
              <a:xfrm rot="5400000">
                <a:off x="7722597" y="3220480"/>
                <a:ext cx="191141" cy="165065"/>
              </a:xfrm>
              <a:prstGeom prst="triangle">
                <a:avLst/>
              </a:prstGeom>
              <a:solidFill>
                <a:schemeClr val="tx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" name="Isosceles Triangle 13"/>
              <p:cNvSpPr/>
              <p:nvPr/>
            </p:nvSpPr>
            <p:spPr>
              <a:xfrm rot="5400000">
                <a:off x="7722597" y="4070447"/>
                <a:ext cx="191141" cy="165065"/>
              </a:xfrm>
              <a:prstGeom prst="triangle">
                <a:avLst/>
              </a:prstGeom>
              <a:solidFill>
                <a:schemeClr val="tx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" name="Isosceles Triangle 14"/>
              <p:cNvSpPr/>
              <p:nvPr/>
            </p:nvSpPr>
            <p:spPr>
              <a:xfrm rot="5400000">
                <a:off x="7722597" y="4920413"/>
                <a:ext cx="191141" cy="165065"/>
              </a:xfrm>
              <a:prstGeom prst="triangle">
                <a:avLst/>
              </a:prstGeom>
              <a:solidFill>
                <a:schemeClr val="tx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6" name="TextBox 15"/>
            <p:cNvSpPr txBox="1"/>
            <p:nvPr/>
          </p:nvSpPr>
          <p:spPr>
            <a:xfrm>
              <a:off x="2156735" y="4116845"/>
              <a:ext cx="151695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b="1" dirty="0">
                  <a:solidFill>
                    <a:srgbClr val="000000"/>
                  </a:solidFill>
                </a:rPr>
                <a:t>EV </a:t>
              </a:r>
              <a:r>
                <a:rPr lang="en-US" sz="1200" b="1" dirty="0">
                  <a:solidFill>
                    <a:srgbClr val="000000"/>
                  </a:solidFill>
                </a:rPr>
                <a:t>Uniqueness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2144035" y="2477866"/>
              <a:ext cx="1516958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rgbClr val="000000"/>
                  </a:solidFill>
                </a:rPr>
                <a:t>Definitively </a:t>
              </a:r>
              <a:r>
                <a:rPr lang="en-US" sz="2000" b="1" dirty="0">
                  <a:solidFill>
                    <a:srgbClr val="000000"/>
                  </a:solidFill>
                </a:rPr>
                <a:t>Nissan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4067719" y="2904074"/>
              <a:ext cx="1516958" cy="8925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rgbClr val="000000"/>
                  </a:solidFill>
                </a:rPr>
                <a:t>Enhanced </a:t>
              </a:r>
              <a:r>
                <a:rPr lang="en-US" sz="2000" b="1" dirty="0">
                  <a:solidFill>
                    <a:srgbClr val="000000"/>
                  </a:solidFill>
                </a:rPr>
                <a:t>Tech Image</a:t>
              </a:r>
            </a:p>
          </p:txBody>
        </p:sp>
      </p:grpSp>
      <p:pic>
        <p:nvPicPr>
          <p:cNvPr id="22" name="Picture 2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4600" y="60204"/>
            <a:ext cx="3471558" cy="450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3371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Content Placeholder 2"/>
          <p:cNvSpPr>
            <a:spLocks noGrp="1"/>
          </p:cNvSpPr>
          <p:nvPr>
            <p:ph idx="1"/>
          </p:nvPr>
        </p:nvSpPr>
        <p:spPr>
          <a:xfrm>
            <a:off x="648393" y="906087"/>
            <a:ext cx="7030911" cy="5320146"/>
          </a:xfrm>
        </p:spPr>
        <p:txBody>
          <a:bodyPr/>
          <a:lstStyle/>
          <a:p>
            <a:pPr marL="304792" indent="-30479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2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New Technology</a:t>
            </a:r>
          </a:p>
          <a:p>
            <a:pPr marL="704842" lvl="1" indent="-30479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tandard Automatic Emergency Braking</a:t>
            </a:r>
          </a:p>
          <a:p>
            <a:pPr marL="704842" lvl="1" indent="-30479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Level 1/Level 2 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harge Cable (120V/240V)</a:t>
            </a:r>
            <a:endParaRPr lang="en-US" sz="18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704842" lvl="1" indent="-30479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ED Headlights</a:t>
            </a:r>
          </a:p>
          <a:p>
            <a:pPr marL="704842" lvl="1" indent="-30479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pple </a:t>
            </a:r>
            <a:r>
              <a:rPr lang="en-US" sz="18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CarPlay</a:t>
            </a: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&amp; Android Auto</a:t>
            </a:r>
          </a:p>
          <a:p>
            <a:pPr marL="304792" indent="-30479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2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-Pedal Mode</a:t>
            </a:r>
          </a:p>
          <a:p>
            <a:pPr marL="818935" lvl="1" indent="-3429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-pedal driving to reduce fatigue</a:t>
            </a:r>
          </a:p>
          <a:p>
            <a:pPr marL="818935" lvl="1" indent="-3429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ull stop and hold capability, even on hills</a:t>
            </a:r>
          </a:p>
          <a:p>
            <a:pPr marL="818935" lvl="1" indent="-3429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Useful in city traffic, very easy to learn</a:t>
            </a:r>
            <a:endParaRPr lang="en-US" sz="8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304792" indent="-304792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2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roPILOT Assist</a:t>
            </a:r>
          </a:p>
          <a:p>
            <a:pPr marL="818935" lvl="1" indent="-3429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tress relief in stop and go traffic</a:t>
            </a:r>
          </a:p>
          <a:p>
            <a:pPr marL="818935" lvl="1" indent="-34290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ingle-lane highway </a:t>
            </a:r>
            <a:r>
              <a:rPr lang="en-US" sz="1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capability</a:t>
            </a:r>
            <a:endParaRPr lang="en-US" sz="18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6" name="Title 1"/>
          <p:cNvSpPr>
            <a:spLocks noGrp="1"/>
          </p:cNvSpPr>
          <p:nvPr>
            <p:ph type="title"/>
          </p:nvPr>
        </p:nvSpPr>
        <p:spPr>
          <a:xfrm>
            <a:off x="69368" y="113511"/>
            <a:ext cx="6848812" cy="671303"/>
          </a:xfrm>
        </p:spPr>
        <p:txBody>
          <a:bodyPr/>
          <a:lstStyle/>
          <a:p>
            <a:r>
              <a:rPr lang="en-US" sz="2800" b="1" dirty="0"/>
              <a:t>MY18 LEAF Key Highlights</a:t>
            </a:r>
          </a:p>
        </p:txBody>
      </p:sp>
      <p:grpSp>
        <p:nvGrpSpPr>
          <p:cNvPr id="3" name="Group 2"/>
          <p:cNvGrpSpPr>
            <a:grpSpLocks noChangeAspect="1"/>
          </p:cNvGrpSpPr>
          <p:nvPr/>
        </p:nvGrpSpPr>
        <p:grpSpPr>
          <a:xfrm>
            <a:off x="7291127" y="609697"/>
            <a:ext cx="4149829" cy="5355976"/>
            <a:chOff x="7285844" y="974607"/>
            <a:chExt cx="4211306" cy="5435321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724" t="4808" r="4434" b="6117"/>
            <a:stretch/>
          </p:blipFill>
          <p:spPr>
            <a:xfrm>
              <a:off x="7285844" y="4581128"/>
              <a:ext cx="4211305" cy="1828800"/>
            </a:xfrm>
            <a:prstGeom prst="rect">
              <a:avLst/>
            </a:prstGeom>
            <a:noFill/>
            <a:ln w="635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</p:pic>
        <p:pic>
          <p:nvPicPr>
            <p:cNvPr id="10" name="Picture 2" descr="Related image"/>
            <p:cNvPicPr>
              <a:picLocks noChangeAspect="1" noChangeArrowheads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285845" y="2780928"/>
              <a:ext cx="4211305" cy="1899920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4" descr="Image result for forward emergency braking"/>
            <p:cNvPicPr>
              <a:picLocks noChangeAspect="1" noChangeArrowheads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285844" y="974607"/>
              <a:ext cx="4211305" cy="1771649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3" name="Picture 1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4600" y="60204"/>
            <a:ext cx="3471558" cy="450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2689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4294967295"/>
          </p:nvPr>
        </p:nvSpPr>
        <p:spPr>
          <a:xfrm>
            <a:off x="134938" y="107950"/>
            <a:ext cx="12057062" cy="501650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4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hat is ProPILOT Assist?</a:t>
            </a:r>
            <a:endParaRPr lang="en-US" sz="40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345066" y="893763"/>
            <a:ext cx="11636805" cy="5424741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1400" b="1" u="sng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PILOT Assist </a:t>
            </a:r>
            <a:r>
              <a:rPr lang="en-US" sz="1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s a feature that combines: </a:t>
            </a:r>
          </a:p>
          <a:p>
            <a:pPr lvl="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eering assist</a:t>
            </a:r>
          </a:p>
          <a:p>
            <a:pPr lvl="1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hanced version of Intelligent Cruise Control (ICC)</a:t>
            </a:r>
          </a:p>
          <a:p>
            <a:pPr marL="0" indent="0">
              <a:buNone/>
            </a:pPr>
            <a:endParaRPr lang="en-US" sz="1400" dirty="0"/>
          </a:p>
        </p:txBody>
      </p:sp>
      <p:sp>
        <p:nvSpPr>
          <p:cNvPr id="11" name="テキスト ボックス 95"/>
          <p:cNvSpPr txBox="1"/>
          <p:nvPr/>
        </p:nvSpPr>
        <p:spPr>
          <a:xfrm>
            <a:off x="692765" y="1799677"/>
            <a:ext cx="6074022" cy="1308050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900"/>
              </a:spcBef>
            </a:pPr>
            <a:r>
              <a:rPr lang="en-US" altLang="ja-JP" sz="1400" u="sng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teering Assist</a:t>
            </a:r>
          </a:p>
          <a:p>
            <a:pPr marL="742950" lvl="1" indent="-285750">
              <a:spcBef>
                <a:spcPts val="900"/>
              </a:spcBef>
              <a:buFont typeface="Arial" panose="020B0604020202020204" pitchFamily="34" charset="0"/>
              <a:buChar char="•"/>
            </a:pPr>
            <a:r>
              <a:rPr lang="en-US" altLang="ja-JP" sz="1400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Provides steering assistance to help the driver stay in the center of the lane.</a:t>
            </a:r>
          </a:p>
          <a:p>
            <a:pPr marL="742950" lvl="1" indent="-285750">
              <a:spcBef>
                <a:spcPts val="900"/>
              </a:spcBef>
              <a:buFont typeface="Arial" panose="020B0604020202020204" pitchFamily="34" charset="0"/>
              <a:buChar char="•"/>
            </a:pPr>
            <a:r>
              <a:rPr lang="en-US" altLang="ja-JP" sz="1400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Only engages when system detects clear, consistent lane markings (after ICC is engaged)</a:t>
            </a:r>
            <a:endParaRPr lang="ja-JP" altLang="en-US" sz="1400" dirty="0">
              <a:solidFill>
                <a:srgbClr val="000000"/>
              </a:solidFill>
              <a:cs typeface="Verdana" panose="020B0604030504040204" pitchFamily="34" charset="0"/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7652874" y="2532676"/>
            <a:ext cx="4135120" cy="1922377"/>
            <a:chOff x="3882275" y="3022600"/>
            <a:chExt cx="4135120" cy="1922377"/>
          </a:xfrm>
          <a:solidFill>
            <a:schemeClr val="tx1"/>
          </a:solidFill>
        </p:grpSpPr>
        <p:sp>
          <p:nvSpPr>
            <p:cNvPr id="10" name="Cube 9"/>
            <p:cNvSpPr/>
            <p:nvPr/>
          </p:nvSpPr>
          <p:spPr>
            <a:xfrm>
              <a:off x="3882275" y="3022600"/>
              <a:ext cx="4135120" cy="1899920"/>
            </a:xfrm>
            <a:prstGeom prst="cube">
              <a:avLst>
                <a:gd name="adj" fmla="val 64604"/>
              </a:avLst>
            </a:prstGeom>
            <a:grpFill/>
            <a:ln>
              <a:solidFill>
                <a:schemeClr val="tx1"/>
              </a:solidFill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4036945" y="4237091"/>
              <a:ext cx="2438400" cy="707886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>
                  <a:solidFill>
                    <a:srgbClr val="FFFFFF"/>
                  </a:solidFill>
                </a:rPr>
                <a:t>Intelligent Cruise Control</a:t>
              </a: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8574181" y="2663227"/>
            <a:ext cx="2418080" cy="889000"/>
            <a:chOff x="4674755" y="3088640"/>
            <a:chExt cx="2418080" cy="889000"/>
          </a:xfrm>
          <a:solidFill>
            <a:srgbClr val="C00000"/>
          </a:solidFill>
        </p:grpSpPr>
        <p:sp>
          <p:nvSpPr>
            <p:cNvPr id="12" name="Cube 11"/>
            <p:cNvSpPr/>
            <p:nvPr/>
          </p:nvSpPr>
          <p:spPr>
            <a:xfrm>
              <a:off x="4674755" y="3088640"/>
              <a:ext cx="2418080" cy="889000"/>
            </a:xfrm>
            <a:prstGeom prst="cube">
              <a:avLst>
                <a:gd name="adj" fmla="val 64604"/>
              </a:avLst>
            </a:prstGeom>
            <a:grpFill/>
            <a:ln>
              <a:solidFill>
                <a:schemeClr val="tx1"/>
              </a:solidFill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4674755" y="3634006"/>
              <a:ext cx="1880851" cy="338554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rgbClr val="FFFFFF"/>
                  </a:solidFill>
                </a:rPr>
                <a:t>Steering Assist</a:t>
              </a:r>
            </a:p>
          </p:txBody>
        </p:sp>
      </p:grpSp>
      <p:sp>
        <p:nvSpPr>
          <p:cNvPr id="15" name="テキスト ボックス 95"/>
          <p:cNvSpPr txBox="1"/>
          <p:nvPr/>
        </p:nvSpPr>
        <p:spPr>
          <a:xfrm>
            <a:off x="370114" y="3298499"/>
            <a:ext cx="7088883" cy="1700466"/>
          </a:xfrm>
          <a:prstGeom prst="rect">
            <a:avLst/>
          </a:prstGeom>
          <a:noFill/>
          <a:effectLst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900"/>
              </a:spcBef>
              <a:buClr>
                <a:srgbClr val="C1092B"/>
              </a:buClr>
            </a:pPr>
            <a:r>
              <a:rPr lang="en-US" altLang="ja-JP" sz="1400" u="sng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Intelligent Cruise Control (ICC)</a:t>
            </a:r>
          </a:p>
          <a:p>
            <a:pPr marL="742950" lvl="1" indent="-285750">
              <a:spcBef>
                <a:spcPts val="900"/>
              </a:spcBef>
              <a:buFont typeface="Arial" panose="020B0604020202020204" pitchFamily="34" charset="0"/>
              <a:buChar char="•"/>
            </a:pPr>
            <a:r>
              <a:rPr lang="en-US" altLang="ja-JP" sz="1400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Maintains vehicle speed set by the driver or </a:t>
            </a:r>
          </a:p>
          <a:p>
            <a:pPr marL="742950" lvl="1" indent="-285750">
              <a:spcBef>
                <a:spcPts val="900"/>
              </a:spcBef>
              <a:buFont typeface="Arial" panose="020B0604020202020204" pitchFamily="34" charset="0"/>
              <a:buChar char="•"/>
            </a:pPr>
            <a:r>
              <a:rPr lang="en-US" altLang="ja-JP" sz="1400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Help maintain a gap to the preceding vehicle if speed drops below the driver set speed</a:t>
            </a:r>
          </a:p>
          <a:p>
            <a:pPr marL="742950" lvl="1" indent="-285750">
              <a:spcBef>
                <a:spcPts val="900"/>
              </a:spcBef>
              <a:buFont typeface="Arial" panose="020B0604020202020204" pitchFamily="34" charset="0"/>
              <a:buChar char="•"/>
            </a:pPr>
            <a:r>
              <a:rPr lang="en-US" altLang="ja-JP" sz="1400" b="1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Enhancement:</a:t>
            </a:r>
            <a:r>
              <a:rPr lang="en-US" altLang="ja-JP" sz="1400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slows vehicle to a stop and </a:t>
            </a:r>
            <a:r>
              <a:rPr lang="en-US" altLang="ja-JP" sz="1400" b="1" u="sng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holds</a:t>
            </a:r>
            <a:r>
              <a:rPr lang="en-US" altLang="ja-JP" sz="1400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during traffic jam conditions</a:t>
            </a:r>
          </a:p>
        </p:txBody>
      </p:sp>
      <p:sp>
        <p:nvSpPr>
          <p:cNvPr id="4" name="Rectangle 3"/>
          <p:cNvSpPr/>
          <p:nvPr/>
        </p:nvSpPr>
        <p:spPr>
          <a:xfrm>
            <a:off x="311765" y="5105881"/>
            <a:ext cx="11604171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err="1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ProPILOT</a:t>
            </a:r>
            <a:r>
              <a:rPr lang="en-US" sz="1400" b="1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Assist: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400" b="1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Is a “hands-on” driver assistance system 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400" b="1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Is a feature that requires the driver to remain engaged in the driving task at all times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400" b="1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Is NOT a “self-driving” feature 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400" b="1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Does not have the capability to drive safely with the driver’s hands off the wheel (same as vehicles today) </a:t>
            </a:r>
          </a:p>
        </p:txBody>
      </p:sp>
      <p:sp>
        <p:nvSpPr>
          <p:cNvPr id="5" name="Rectangle 4"/>
          <p:cNvSpPr/>
          <p:nvPr/>
        </p:nvSpPr>
        <p:spPr>
          <a:xfrm>
            <a:off x="311765" y="5065912"/>
            <a:ext cx="11670106" cy="140029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9978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30859" y="1116327"/>
            <a:ext cx="8229600" cy="1682462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44679" y="115494"/>
            <a:ext cx="84582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000" b="1" dirty="0">
                <a:solidFill>
                  <a:srgbClr val="292929"/>
                </a:solidFill>
              </a:rPr>
              <a:t> e-Pedal Technology 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20113" y="2896599"/>
            <a:ext cx="9529120" cy="2154055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1830859" y="5197582"/>
            <a:ext cx="87630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i="1" dirty="0">
                <a:solidFill>
                  <a:srgbClr val="000000"/>
                </a:solidFill>
              </a:rPr>
              <a:t>With the flip of a switch, the technology turns your accelerator into an e-Pedal, allowing drivers to accelerate, decelerate and stop using just the e-Pedal*. e-Pedal technology is the world’s first one-pedal operation that allows drivers to bring the car to a complete stop even on hills, stay in position, and resume driving instantly.</a:t>
            </a:r>
            <a:endParaRPr lang="en-US" sz="1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9911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87989" y="87695"/>
            <a:ext cx="6968656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ja-JP"/>
            </a:defPPr>
            <a:lvl1pPr>
              <a:defRPr sz="3200" b="1"/>
            </a:lvl1pPr>
          </a:lstStyle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2800" dirty="0">
                <a:solidFill>
                  <a:srgbClr val="000000"/>
                </a:solidFill>
              </a:rPr>
              <a:t>MY18 LEAF Grade Strategy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960096" y="4780890"/>
            <a:ext cx="4047349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000000"/>
                </a:solidFill>
              </a:rPr>
              <a:t>S Key Featu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40kWh battery (150 mi rang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6.6 kW onboard charg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rgbClr val="000000"/>
                </a:solidFill>
              </a:rPr>
              <a:t>ePedal</a:t>
            </a:r>
            <a:r>
              <a:rPr lang="en-US" sz="1400" dirty="0">
                <a:solidFill>
                  <a:srgbClr val="000000"/>
                </a:solidFill>
              </a:rPr>
              <a:t> Mo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Automatic Emergency Brak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Nissan Intelligent Ke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rgbClr val="000000"/>
                </a:solidFill>
              </a:rPr>
              <a:t>RearView</a:t>
            </a:r>
            <a:r>
              <a:rPr lang="en-US" sz="1400" dirty="0">
                <a:solidFill>
                  <a:srgbClr val="000000"/>
                </a:solidFill>
              </a:rPr>
              <a:t> Monitor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960096" y="2924944"/>
            <a:ext cx="4824536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000000"/>
                </a:solidFill>
              </a:rPr>
              <a:t>SV Key Featu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Quick charge po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Intelligent Cruise Control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rgbClr val="000000"/>
                </a:solidFill>
              </a:rPr>
              <a:t>NissanConnect</a:t>
            </a:r>
            <a:r>
              <a:rPr lang="en-US" sz="1400" dirty="0">
                <a:solidFill>
                  <a:srgbClr val="000000"/>
                </a:solidFill>
              </a:rPr>
              <a:t> with Navig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Apple </a:t>
            </a:r>
            <a:r>
              <a:rPr lang="en-US" sz="1400" dirty="0" err="1">
                <a:solidFill>
                  <a:srgbClr val="000000"/>
                </a:solidFill>
              </a:rPr>
              <a:t>CarPlay</a:t>
            </a:r>
            <a:r>
              <a:rPr lang="en-US" sz="1400" dirty="0">
                <a:solidFill>
                  <a:srgbClr val="000000"/>
                </a:solidFill>
              </a:rPr>
              <a:t>/Android Aut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rgbClr val="000000"/>
                </a:solidFill>
              </a:rPr>
              <a:t>SiriusXM</a:t>
            </a:r>
            <a:r>
              <a:rPr lang="en-US" sz="1400" dirty="0">
                <a:solidFill>
                  <a:srgbClr val="000000"/>
                </a:solidFill>
              </a:rPr>
              <a:t> SAT/Traffic/Travel Lin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17” alloy wheels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960096" y="1026602"/>
            <a:ext cx="4824536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000000"/>
                </a:solidFill>
              </a:rPr>
              <a:t>SL Key Featu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Level 1/Level 2 charge cable (120V/240V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Leather appointed seats, power DR sea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Around View Monit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LED headligh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Bose premium aud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Heated seats, mirrors, steering wheel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1007445" y="3778440"/>
            <a:ext cx="7200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>
                <a:solidFill>
                  <a:srgbClr val="FFFFFF"/>
                </a:solidFill>
              </a:rPr>
              <a:t>44%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5407" y="625069"/>
            <a:ext cx="4829343" cy="599004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4600" y="60204"/>
            <a:ext cx="3471558" cy="450477"/>
          </a:xfrm>
          <a:prstGeom prst="rect">
            <a:avLst/>
          </a:prstGeom>
        </p:spPr>
      </p:pic>
      <p:sp>
        <p:nvSpPr>
          <p:cNvPr id="2" name="Up Arrow 1"/>
          <p:cNvSpPr/>
          <p:nvPr/>
        </p:nvSpPr>
        <p:spPr>
          <a:xfrm>
            <a:off x="7541971" y="4525382"/>
            <a:ext cx="497434" cy="255508"/>
          </a:xfrm>
          <a:prstGeom prst="upArrow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Up Arrow 9"/>
          <p:cNvSpPr/>
          <p:nvPr/>
        </p:nvSpPr>
        <p:spPr>
          <a:xfrm>
            <a:off x="7541971" y="2627040"/>
            <a:ext cx="497434" cy="255508"/>
          </a:xfrm>
          <a:prstGeom prst="upArrow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7681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/>
          <p:cNvSpPr/>
          <p:nvPr/>
        </p:nvSpPr>
        <p:spPr>
          <a:xfrm>
            <a:off x="621428" y="999195"/>
            <a:ext cx="1899844" cy="838200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/>
            <a:r>
              <a:rPr lang="en-US" sz="1600" b="1" dirty="0">
                <a:ln w="50800"/>
                <a:solidFill>
                  <a:srgbClr val="000000"/>
                </a:solidFill>
              </a:rPr>
              <a:t>S</a:t>
            </a:r>
          </a:p>
          <a:p>
            <a:pPr algn="ctr"/>
            <a:r>
              <a:rPr lang="en-US" sz="1600" b="1" dirty="0">
                <a:ln w="50800"/>
                <a:solidFill>
                  <a:srgbClr val="000000"/>
                </a:solidFill>
              </a:rPr>
              <a:t>$30,680</a:t>
            </a:r>
          </a:p>
        </p:txBody>
      </p:sp>
      <p:sp>
        <p:nvSpPr>
          <p:cNvPr id="18" name="Rounded Rectangle 17"/>
          <p:cNvSpPr/>
          <p:nvPr/>
        </p:nvSpPr>
        <p:spPr>
          <a:xfrm>
            <a:off x="3695333" y="1336224"/>
            <a:ext cx="1837116" cy="880646"/>
          </a:xfrm>
          <a:prstGeom prst="roundRect">
            <a:avLst/>
          </a:prstGeom>
          <a:solidFill>
            <a:srgbClr val="00B050"/>
          </a:solidFill>
          <a:ln>
            <a:solidFill>
              <a:schemeClr val="bg1">
                <a:lumMod val="65000"/>
              </a:schemeClr>
            </a:solidFill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/>
            <a:r>
              <a:rPr lang="en-US" b="1" dirty="0">
                <a:ln w="50800"/>
                <a:solidFill>
                  <a:srgbClr val="000000"/>
                </a:solidFill>
              </a:rPr>
              <a:t>S</a:t>
            </a:r>
          </a:p>
          <a:p>
            <a:pPr algn="ctr"/>
            <a:r>
              <a:rPr lang="en-US" b="1" dirty="0">
                <a:ln w="50800"/>
                <a:solidFill>
                  <a:srgbClr val="000000"/>
                </a:solidFill>
              </a:rPr>
              <a:t>$29,990</a:t>
            </a:r>
          </a:p>
        </p:txBody>
      </p:sp>
      <p:sp>
        <p:nvSpPr>
          <p:cNvPr id="20" name="Rectangle 19"/>
          <p:cNvSpPr/>
          <p:nvPr/>
        </p:nvSpPr>
        <p:spPr>
          <a:xfrm>
            <a:off x="4122410" y="950702"/>
            <a:ext cx="982961" cy="400110"/>
          </a:xfrm>
          <a:prstGeom prst="rect">
            <a:avLst/>
          </a:prstGeom>
        </p:spPr>
        <p:txBody>
          <a:bodyPr wrap="none">
            <a:sp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r>
              <a:rPr lang="en-US" sz="2000" b="1" dirty="0">
                <a:ln w="50800"/>
                <a:solidFill>
                  <a:srgbClr val="000000"/>
                </a:solidFill>
                <a:cs typeface="Arial" pitchFamily="34" charset="0"/>
              </a:rPr>
              <a:t>MY18</a:t>
            </a:r>
            <a:endParaRPr lang="en-US" sz="2000" b="1" dirty="0">
              <a:ln w="50800"/>
              <a:solidFill>
                <a:srgbClr val="000000"/>
              </a:solidFill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6934199" y="4618185"/>
            <a:ext cx="4301485" cy="2034871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r>
              <a:rPr lang="en-US" sz="1100" b="1" u="sng" dirty="0">
                <a:ln w="50800"/>
                <a:solidFill>
                  <a:srgbClr val="000000"/>
                </a:solidFill>
              </a:rPr>
              <a:t>SL includes SV Features plus</a:t>
            </a:r>
            <a:r>
              <a:rPr lang="en-US" sz="1100" dirty="0">
                <a:ln w="50800"/>
                <a:solidFill>
                  <a:srgbClr val="000000"/>
                </a:solidFill>
              </a:rPr>
              <a:t>:</a:t>
            </a:r>
          </a:p>
          <a:p>
            <a:endParaRPr lang="en-US" sz="1100" dirty="0">
              <a:ln w="50800"/>
              <a:solidFill>
                <a:srgbClr val="00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n w="50800"/>
                <a:solidFill>
                  <a:srgbClr val="000000"/>
                </a:solidFill>
              </a:rPr>
              <a:t>Exterior mirrors with integrated turn signal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n w="50800"/>
                <a:solidFill>
                  <a:srgbClr val="000000"/>
                </a:solidFill>
              </a:rPr>
              <a:t>Bose premium audi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n w="50800"/>
                <a:solidFill>
                  <a:srgbClr val="000000"/>
                </a:solidFill>
              </a:rPr>
              <a:t>Blind Spot Warn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n w="50800"/>
                <a:solidFill>
                  <a:srgbClr val="000000"/>
                </a:solidFill>
              </a:rPr>
              <a:t>Rear Cross Traffic Aler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n w="50800"/>
                <a:solidFill>
                  <a:srgbClr val="000000"/>
                </a:solidFill>
              </a:rPr>
              <a:t>Around View </a:t>
            </a:r>
            <a:r>
              <a:rPr lang="en-US" sz="1100" dirty="0" err="1">
                <a:ln w="50800"/>
                <a:solidFill>
                  <a:srgbClr val="000000"/>
                </a:solidFill>
              </a:rPr>
              <a:t>Monitor+MOD+DAA</a:t>
            </a:r>
            <a:endParaRPr lang="en-US" sz="1100" dirty="0">
              <a:ln w="50800"/>
              <a:solidFill>
                <a:srgbClr val="00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n w="50800"/>
                <a:solidFill>
                  <a:srgbClr val="000000"/>
                </a:solidFill>
              </a:rPr>
              <a:t>L1/L2 EVSE</a:t>
            </a:r>
          </a:p>
          <a:p>
            <a:pPr>
              <a:buFont typeface="Arial" pitchFamily="34" charset="0"/>
              <a:buChar char="•"/>
            </a:pPr>
            <a:endParaRPr lang="en-US" sz="800" dirty="0">
              <a:ln w="50800"/>
              <a:solidFill>
                <a:srgbClr val="000000"/>
              </a:solidFill>
            </a:endParaRPr>
          </a:p>
          <a:p>
            <a:pPr>
              <a:buFont typeface="Arial" pitchFamily="34" charset="0"/>
              <a:buChar char="•"/>
            </a:pPr>
            <a:endParaRPr lang="en-US" sz="800" dirty="0">
              <a:ln w="50800"/>
              <a:solidFill>
                <a:srgbClr val="000000"/>
              </a:solidFill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6934200" y="3101132"/>
            <a:ext cx="4267200" cy="1119988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r>
              <a:rPr lang="en-US" sz="1100" b="1" u="sng" dirty="0">
                <a:ln w="50800"/>
                <a:solidFill>
                  <a:srgbClr val="000000"/>
                </a:solidFill>
              </a:rPr>
              <a:t>SV includes S Features plus</a:t>
            </a:r>
            <a:r>
              <a:rPr lang="en-US" sz="1100" dirty="0">
                <a:ln w="50800"/>
                <a:solidFill>
                  <a:srgbClr val="000000"/>
                </a:solidFill>
              </a:rPr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100" dirty="0">
              <a:ln w="50800"/>
              <a:solidFill>
                <a:srgbClr val="000000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err="1">
                <a:ln w="50800"/>
                <a:solidFill>
                  <a:srgbClr val="000000"/>
                </a:solidFill>
              </a:rPr>
              <a:t>Carplay</a:t>
            </a:r>
            <a:r>
              <a:rPr lang="en-US" sz="1100" dirty="0">
                <a:ln w="50800"/>
                <a:solidFill>
                  <a:srgbClr val="000000"/>
                </a:solidFill>
              </a:rPr>
              <a:t> + Android Aut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n w="50800"/>
                <a:solidFill>
                  <a:srgbClr val="000000"/>
                </a:solidFill>
              </a:rPr>
              <a:t>Intelligent Cruise Control</a:t>
            </a:r>
          </a:p>
        </p:txBody>
      </p:sp>
      <p:sp>
        <p:nvSpPr>
          <p:cNvPr id="27" name="Rounded Rectangle 26"/>
          <p:cNvSpPr/>
          <p:nvPr/>
        </p:nvSpPr>
        <p:spPr>
          <a:xfrm>
            <a:off x="6934200" y="692737"/>
            <a:ext cx="4267200" cy="2165227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r>
              <a:rPr lang="en-US" sz="1100" b="1" u="sng" dirty="0">
                <a:ln w="50800"/>
                <a:solidFill>
                  <a:srgbClr val="000000"/>
                </a:solidFill>
              </a:rPr>
              <a:t>S Features</a:t>
            </a:r>
            <a:r>
              <a:rPr lang="en-US" sz="1100" dirty="0">
                <a:ln w="50800"/>
                <a:solidFill>
                  <a:srgbClr val="000000"/>
                </a:solidFill>
              </a:rPr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n w="50800"/>
                <a:solidFill>
                  <a:srgbClr val="000000"/>
                </a:solidFill>
              </a:rPr>
              <a:t>Redesigned exterior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n w="50800"/>
                <a:solidFill>
                  <a:srgbClr val="000000"/>
                </a:solidFill>
              </a:rPr>
              <a:t>Battery (40kWh vs. 30kWh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n w="50800"/>
                <a:solidFill>
                  <a:srgbClr val="000000"/>
                </a:solidFill>
              </a:rPr>
              <a:t>40% increase in driving ran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n w="50800"/>
                <a:solidFill>
                  <a:srgbClr val="000000"/>
                </a:solidFill>
              </a:rPr>
              <a:t>Motor (110kW vs. 80kW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n w="50800"/>
                <a:solidFill>
                  <a:srgbClr val="000000"/>
                </a:solidFill>
              </a:rPr>
              <a:t>+37% horsepow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n w="50800"/>
                <a:solidFill>
                  <a:srgbClr val="000000"/>
                </a:solidFill>
              </a:rPr>
              <a:t>Standard Automatic Emergency Brak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n w="50800"/>
                <a:solidFill>
                  <a:srgbClr val="000000"/>
                </a:solidFill>
              </a:rPr>
              <a:t>e-Pedal with slope stop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n w="50800"/>
                <a:solidFill>
                  <a:srgbClr val="000000"/>
                </a:solidFill>
              </a:rPr>
              <a:t>7" Meter with Analogue Speedometer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ln w="50800"/>
                <a:solidFill>
                  <a:srgbClr val="000000"/>
                </a:solidFill>
              </a:rPr>
              <a:t>Auto on/off headlights</a:t>
            </a:r>
          </a:p>
        </p:txBody>
      </p:sp>
      <p:sp>
        <p:nvSpPr>
          <p:cNvPr id="31" name="Title 30"/>
          <p:cNvSpPr>
            <a:spLocks noGrp="1"/>
          </p:cNvSpPr>
          <p:nvPr>
            <p:ph type="title" idx="4294967295"/>
          </p:nvPr>
        </p:nvSpPr>
        <p:spPr>
          <a:xfrm>
            <a:off x="0" y="15767"/>
            <a:ext cx="10668000" cy="708025"/>
          </a:xfrm>
          <a:prstGeom prst="rect">
            <a:avLst/>
          </a:prstGeom>
          <a:noFill/>
        </p:spPr>
        <p:txBody>
          <a:bodyPr/>
          <a:lstStyle/>
          <a:p>
            <a:r>
              <a:rPr lang="en-US" sz="2800" b="1" dirty="0">
                <a:latin typeface="Verdana" panose="020B0604030504040204" pitchFamily="34" charset="0"/>
              </a:rPr>
              <a:t>MY18 LEAF Price/Value Positioning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600200" y="2300716"/>
            <a:ext cx="51054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effectLst>
            <a:softEdge rad="31750"/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C00000"/>
                </a:solidFill>
              </a:rPr>
              <a:t>S Price Adjustment = $690 (</a:t>
            </a:r>
            <a:r>
              <a:rPr lang="en-US" b="1" dirty="0">
                <a:solidFill>
                  <a:srgbClr val="C00000"/>
                </a:solidFill>
                <a:sym typeface="Wingdings"/>
              </a:rPr>
              <a:t> </a:t>
            </a:r>
            <a:r>
              <a:rPr lang="en-US" b="1" dirty="0">
                <a:solidFill>
                  <a:srgbClr val="C00000"/>
                </a:solidFill>
              </a:rPr>
              <a:t>2.2%)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600200" y="4239878"/>
            <a:ext cx="51054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effectLst>
            <a:softEdge rad="31750"/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C00000"/>
                </a:solidFill>
              </a:rPr>
              <a:t>SV Price Adjustment = $1,710 (</a:t>
            </a:r>
            <a:r>
              <a:rPr lang="en-US" b="1" dirty="0">
                <a:solidFill>
                  <a:srgbClr val="C00000"/>
                </a:solidFill>
                <a:sym typeface="Wingdings"/>
              </a:rPr>
              <a:t> </a:t>
            </a:r>
            <a:r>
              <a:rPr lang="en-US" b="1" dirty="0">
                <a:solidFill>
                  <a:srgbClr val="C00000"/>
                </a:solidFill>
              </a:rPr>
              <a:t>5%)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192828" y="679673"/>
            <a:ext cx="744114" cy="307777"/>
          </a:xfrm>
          <a:prstGeom prst="rect">
            <a:avLst/>
          </a:prstGeom>
        </p:spPr>
        <p:txBody>
          <a:bodyPr wrap="none">
            <a:sp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r>
              <a:rPr lang="en-US" sz="1400" b="1" dirty="0">
                <a:ln w="50800"/>
                <a:solidFill>
                  <a:srgbClr val="000000"/>
                </a:solidFill>
                <a:cs typeface="Arial" pitchFamily="34" charset="0"/>
              </a:rPr>
              <a:t>MY17</a:t>
            </a:r>
            <a:endParaRPr lang="en-US" sz="1400" b="1" dirty="0">
              <a:ln w="50800"/>
              <a:solidFill>
                <a:srgbClr val="000000"/>
              </a:solidFill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2795773" y="1045361"/>
            <a:ext cx="758952" cy="4616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  <a:scene3d>
            <a:camera prst="orthographicFront"/>
            <a:lightRig rig="balanced" dir="t">
              <a:rot lat="0" lon="0" rev="2100000"/>
            </a:lightRig>
          </a:scene3d>
          <a:sp3d>
            <a:bevelT w="165100" prst="coolSlant"/>
          </a:sp3d>
        </p:spPr>
        <p:txBody>
          <a:bodyPr wrap="square">
            <a:spAutoFit/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>
              <a:buClr>
                <a:srgbClr val="000000"/>
              </a:buClr>
            </a:pPr>
            <a:r>
              <a:rPr lang="en-US" sz="1200" b="1" dirty="0">
                <a:ln w="50800"/>
                <a:solidFill>
                  <a:srgbClr val="000000"/>
                </a:solidFill>
              </a:rPr>
              <a:t>Lower MSRP</a:t>
            </a:r>
          </a:p>
        </p:txBody>
      </p:sp>
      <p:sp>
        <p:nvSpPr>
          <p:cNvPr id="48" name="Right Arrow 47"/>
          <p:cNvSpPr/>
          <p:nvPr/>
        </p:nvSpPr>
        <p:spPr>
          <a:xfrm rot="1119989">
            <a:off x="2648674" y="1673129"/>
            <a:ext cx="951052" cy="241722"/>
          </a:xfrm>
          <a:prstGeom prst="rightArrow">
            <a:avLst/>
          </a:prstGeom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5718046" y="1045361"/>
            <a:ext cx="758952" cy="46166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accent1"/>
            </a:solidFill>
          </a:ln>
          <a:scene3d>
            <a:camera prst="orthographicFront"/>
            <a:lightRig rig="balanced" dir="t">
              <a:rot lat="0" lon="0" rev="2100000"/>
            </a:lightRig>
          </a:scene3d>
          <a:sp3d>
            <a:bevelT w="165100" prst="coolSlant"/>
          </a:sp3d>
        </p:spPr>
        <p:txBody>
          <a:bodyPr wrap="square">
            <a:spAutoFit/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>
              <a:buClr>
                <a:srgbClr val="000000"/>
              </a:buClr>
            </a:pPr>
            <a:r>
              <a:rPr lang="en-US" sz="1200" b="1" dirty="0">
                <a:ln w="50800"/>
                <a:solidFill>
                  <a:srgbClr val="000000"/>
                </a:solidFill>
              </a:rPr>
              <a:t>Add Value</a:t>
            </a:r>
          </a:p>
        </p:txBody>
      </p:sp>
      <p:sp>
        <p:nvSpPr>
          <p:cNvPr id="53" name="Right Arrow 52"/>
          <p:cNvSpPr/>
          <p:nvPr/>
        </p:nvSpPr>
        <p:spPr>
          <a:xfrm rot="20693777">
            <a:off x="5691622" y="1709103"/>
            <a:ext cx="993413" cy="289547"/>
          </a:xfrm>
          <a:prstGeom prst="rightArrow">
            <a:avLst/>
          </a:prstGeom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34" name="Rounded Rectangle 33"/>
          <p:cNvSpPr/>
          <p:nvPr/>
        </p:nvSpPr>
        <p:spPr>
          <a:xfrm>
            <a:off x="621428" y="3168852"/>
            <a:ext cx="1899844" cy="838200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/>
            <a:r>
              <a:rPr lang="en-US" sz="1600" b="1" dirty="0">
                <a:ln w="50800"/>
                <a:solidFill>
                  <a:srgbClr val="000000"/>
                </a:solidFill>
              </a:rPr>
              <a:t>SV</a:t>
            </a:r>
          </a:p>
          <a:p>
            <a:pPr algn="ctr"/>
            <a:r>
              <a:rPr lang="en-US" sz="1600" b="1" dirty="0">
                <a:ln w="50800"/>
                <a:solidFill>
                  <a:srgbClr val="000000"/>
                </a:solidFill>
              </a:rPr>
              <a:t>$34,200</a:t>
            </a:r>
          </a:p>
        </p:txBody>
      </p:sp>
      <p:sp>
        <p:nvSpPr>
          <p:cNvPr id="36" name="Rectangle 35"/>
          <p:cNvSpPr/>
          <p:nvPr/>
        </p:nvSpPr>
        <p:spPr>
          <a:xfrm>
            <a:off x="1192828" y="2860886"/>
            <a:ext cx="744114" cy="307777"/>
          </a:xfrm>
          <a:prstGeom prst="rect">
            <a:avLst/>
          </a:prstGeom>
        </p:spPr>
        <p:txBody>
          <a:bodyPr wrap="none">
            <a:sp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r>
              <a:rPr lang="en-US" sz="1400" b="1" dirty="0">
                <a:ln w="50800"/>
                <a:solidFill>
                  <a:srgbClr val="000000"/>
                </a:solidFill>
                <a:cs typeface="Arial" pitchFamily="34" charset="0"/>
              </a:rPr>
              <a:t>MY17</a:t>
            </a:r>
            <a:endParaRPr lang="en-US" sz="1400" b="1" dirty="0">
              <a:ln w="50800"/>
              <a:solidFill>
                <a:srgbClr val="000000"/>
              </a:solidFill>
            </a:endParaRPr>
          </a:p>
        </p:txBody>
      </p:sp>
      <p:sp>
        <p:nvSpPr>
          <p:cNvPr id="37" name="Rounded Rectangle 36"/>
          <p:cNvSpPr/>
          <p:nvPr/>
        </p:nvSpPr>
        <p:spPr>
          <a:xfrm>
            <a:off x="3695333" y="3292374"/>
            <a:ext cx="1837116" cy="880646"/>
          </a:xfrm>
          <a:prstGeom prst="roundRect">
            <a:avLst/>
          </a:prstGeom>
          <a:solidFill>
            <a:srgbClr val="00B050"/>
          </a:solidFill>
          <a:ln>
            <a:solidFill>
              <a:schemeClr val="bg1">
                <a:lumMod val="65000"/>
              </a:schemeClr>
            </a:solidFill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/>
            <a:r>
              <a:rPr lang="en-US" b="1" dirty="0">
                <a:ln w="50800"/>
                <a:solidFill>
                  <a:srgbClr val="000000"/>
                </a:solidFill>
              </a:rPr>
              <a:t>SV</a:t>
            </a:r>
          </a:p>
          <a:p>
            <a:pPr algn="ctr"/>
            <a:r>
              <a:rPr lang="en-US" b="1" dirty="0">
                <a:ln w="50800"/>
                <a:solidFill>
                  <a:srgbClr val="000000"/>
                </a:solidFill>
              </a:rPr>
              <a:t>$32,490</a:t>
            </a:r>
          </a:p>
        </p:txBody>
      </p:sp>
      <p:sp>
        <p:nvSpPr>
          <p:cNvPr id="38" name="Rectangle 37"/>
          <p:cNvSpPr/>
          <p:nvPr/>
        </p:nvSpPr>
        <p:spPr>
          <a:xfrm>
            <a:off x="2795773" y="3001511"/>
            <a:ext cx="758952" cy="4616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  <a:scene3d>
            <a:camera prst="orthographicFront"/>
            <a:lightRig rig="balanced" dir="t">
              <a:rot lat="0" lon="0" rev="2100000"/>
            </a:lightRig>
          </a:scene3d>
          <a:sp3d>
            <a:bevelT w="165100" prst="coolSlant"/>
          </a:sp3d>
        </p:spPr>
        <p:txBody>
          <a:bodyPr wrap="square">
            <a:spAutoFit/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>
              <a:buClr>
                <a:srgbClr val="000000"/>
              </a:buClr>
            </a:pPr>
            <a:r>
              <a:rPr lang="en-US" sz="1200" b="1" dirty="0">
                <a:ln w="50800"/>
                <a:solidFill>
                  <a:srgbClr val="000000"/>
                </a:solidFill>
              </a:rPr>
              <a:t>Lower MSRP</a:t>
            </a:r>
          </a:p>
        </p:txBody>
      </p:sp>
      <p:sp>
        <p:nvSpPr>
          <p:cNvPr id="39" name="Right Arrow 38"/>
          <p:cNvSpPr/>
          <p:nvPr/>
        </p:nvSpPr>
        <p:spPr>
          <a:xfrm rot="1119989">
            <a:off x="2648674" y="3629279"/>
            <a:ext cx="951052" cy="241722"/>
          </a:xfrm>
          <a:prstGeom prst="rightArrow">
            <a:avLst/>
          </a:prstGeom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5718046" y="3001511"/>
            <a:ext cx="758952" cy="46166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accent1"/>
            </a:solidFill>
          </a:ln>
          <a:scene3d>
            <a:camera prst="orthographicFront"/>
            <a:lightRig rig="balanced" dir="t">
              <a:rot lat="0" lon="0" rev="2100000"/>
            </a:lightRig>
          </a:scene3d>
          <a:sp3d>
            <a:bevelT w="165100" prst="coolSlant"/>
          </a:sp3d>
        </p:spPr>
        <p:txBody>
          <a:bodyPr wrap="square">
            <a:spAutoFit/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>
              <a:buClr>
                <a:srgbClr val="000000"/>
              </a:buClr>
            </a:pPr>
            <a:r>
              <a:rPr lang="en-US" sz="1200" b="1" dirty="0">
                <a:ln w="50800"/>
                <a:solidFill>
                  <a:srgbClr val="000000"/>
                </a:solidFill>
              </a:rPr>
              <a:t>Add Value</a:t>
            </a:r>
          </a:p>
        </p:txBody>
      </p:sp>
      <p:sp>
        <p:nvSpPr>
          <p:cNvPr id="41" name="Right Arrow 40"/>
          <p:cNvSpPr/>
          <p:nvPr/>
        </p:nvSpPr>
        <p:spPr>
          <a:xfrm rot="20693777">
            <a:off x="5691622" y="3665253"/>
            <a:ext cx="993413" cy="289547"/>
          </a:xfrm>
          <a:prstGeom prst="rightArrow">
            <a:avLst/>
          </a:prstGeom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4067112" y="2920397"/>
            <a:ext cx="982961" cy="400110"/>
          </a:xfrm>
          <a:prstGeom prst="rect">
            <a:avLst/>
          </a:prstGeom>
        </p:spPr>
        <p:txBody>
          <a:bodyPr wrap="none">
            <a:sp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r>
              <a:rPr lang="en-US" sz="2000" b="1" dirty="0">
                <a:ln w="50800"/>
                <a:solidFill>
                  <a:srgbClr val="000000"/>
                </a:solidFill>
                <a:cs typeface="Arial" pitchFamily="34" charset="0"/>
              </a:rPr>
              <a:t>MY18</a:t>
            </a:r>
            <a:endParaRPr lang="en-US" sz="2000" b="1" dirty="0">
              <a:ln w="50800"/>
              <a:solidFill>
                <a:srgbClr val="000000"/>
              </a:solidFill>
            </a:endParaRPr>
          </a:p>
        </p:txBody>
      </p:sp>
      <p:sp>
        <p:nvSpPr>
          <p:cNvPr id="43" name="Rounded Rectangle 42"/>
          <p:cNvSpPr/>
          <p:nvPr/>
        </p:nvSpPr>
        <p:spPr>
          <a:xfrm>
            <a:off x="621428" y="5198249"/>
            <a:ext cx="1899844" cy="838200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/>
            <a:r>
              <a:rPr lang="en-US" sz="1600" b="1" dirty="0">
                <a:ln w="50800"/>
                <a:solidFill>
                  <a:srgbClr val="000000"/>
                </a:solidFill>
              </a:rPr>
              <a:t>SL</a:t>
            </a:r>
          </a:p>
          <a:p>
            <a:pPr algn="ctr"/>
            <a:r>
              <a:rPr lang="en-US" sz="1600" b="1" dirty="0">
                <a:ln w="50800"/>
                <a:solidFill>
                  <a:srgbClr val="000000"/>
                </a:solidFill>
              </a:rPr>
              <a:t>$36,790</a:t>
            </a:r>
          </a:p>
        </p:txBody>
      </p:sp>
      <p:sp>
        <p:nvSpPr>
          <p:cNvPr id="44" name="Rectangle 43"/>
          <p:cNvSpPr/>
          <p:nvPr/>
        </p:nvSpPr>
        <p:spPr>
          <a:xfrm>
            <a:off x="1192828" y="4890283"/>
            <a:ext cx="744114" cy="307777"/>
          </a:xfrm>
          <a:prstGeom prst="rect">
            <a:avLst/>
          </a:prstGeom>
        </p:spPr>
        <p:txBody>
          <a:bodyPr wrap="none">
            <a:sp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r>
              <a:rPr lang="en-US" sz="1400" b="1" dirty="0">
                <a:ln w="50800"/>
                <a:solidFill>
                  <a:srgbClr val="000000"/>
                </a:solidFill>
                <a:cs typeface="Arial" pitchFamily="34" charset="0"/>
              </a:rPr>
              <a:t>MY17</a:t>
            </a:r>
            <a:endParaRPr lang="en-US" sz="1400" b="1" dirty="0">
              <a:ln w="50800"/>
              <a:solidFill>
                <a:srgbClr val="000000"/>
              </a:solidFill>
            </a:endParaRPr>
          </a:p>
        </p:txBody>
      </p:sp>
      <p:sp>
        <p:nvSpPr>
          <p:cNvPr id="47" name="Rounded Rectangle 46"/>
          <p:cNvSpPr/>
          <p:nvPr/>
        </p:nvSpPr>
        <p:spPr>
          <a:xfrm>
            <a:off x="3695333" y="5321771"/>
            <a:ext cx="1837116" cy="880646"/>
          </a:xfrm>
          <a:prstGeom prst="roundRect">
            <a:avLst/>
          </a:prstGeom>
          <a:solidFill>
            <a:srgbClr val="00B050"/>
          </a:solidFill>
          <a:ln>
            <a:solidFill>
              <a:schemeClr val="bg1">
                <a:lumMod val="65000"/>
              </a:schemeClr>
            </a:solidFill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/>
            <a:r>
              <a:rPr lang="en-US" b="1" dirty="0">
                <a:ln w="50800"/>
                <a:solidFill>
                  <a:srgbClr val="000000"/>
                </a:solidFill>
              </a:rPr>
              <a:t>SL</a:t>
            </a:r>
          </a:p>
          <a:p>
            <a:pPr algn="ctr"/>
            <a:r>
              <a:rPr lang="en-US" b="1" dirty="0">
                <a:ln w="50800"/>
                <a:solidFill>
                  <a:srgbClr val="000000"/>
                </a:solidFill>
              </a:rPr>
              <a:t>$36,200</a:t>
            </a:r>
          </a:p>
        </p:txBody>
      </p:sp>
      <p:sp>
        <p:nvSpPr>
          <p:cNvPr id="50" name="Rectangle 49"/>
          <p:cNvSpPr/>
          <p:nvPr/>
        </p:nvSpPr>
        <p:spPr>
          <a:xfrm>
            <a:off x="2795773" y="5030908"/>
            <a:ext cx="758952" cy="4616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  <a:scene3d>
            <a:camera prst="orthographicFront"/>
            <a:lightRig rig="balanced" dir="t">
              <a:rot lat="0" lon="0" rev="2100000"/>
            </a:lightRig>
          </a:scene3d>
          <a:sp3d>
            <a:bevelT w="165100" prst="coolSlant"/>
          </a:sp3d>
        </p:spPr>
        <p:txBody>
          <a:bodyPr wrap="square">
            <a:spAutoFit/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>
              <a:buClr>
                <a:srgbClr val="000000"/>
              </a:buClr>
            </a:pPr>
            <a:r>
              <a:rPr lang="en-US" sz="1200" b="1" dirty="0">
                <a:ln w="50800"/>
                <a:solidFill>
                  <a:srgbClr val="000000"/>
                </a:solidFill>
              </a:rPr>
              <a:t>Lower MSRP</a:t>
            </a:r>
          </a:p>
        </p:txBody>
      </p:sp>
      <p:sp>
        <p:nvSpPr>
          <p:cNvPr id="51" name="Right Arrow 50"/>
          <p:cNvSpPr/>
          <p:nvPr/>
        </p:nvSpPr>
        <p:spPr>
          <a:xfrm rot="1119989">
            <a:off x="2648674" y="5658676"/>
            <a:ext cx="951052" cy="241722"/>
          </a:xfrm>
          <a:prstGeom prst="rightArrow">
            <a:avLst/>
          </a:prstGeom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5718046" y="5030908"/>
            <a:ext cx="758952" cy="46166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accent1"/>
            </a:solidFill>
          </a:ln>
          <a:scene3d>
            <a:camera prst="orthographicFront"/>
            <a:lightRig rig="balanced" dir="t">
              <a:rot lat="0" lon="0" rev="2100000"/>
            </a:lightRig>
          </a:scene3d>
          <a:sp3d>
            <a:bevelT w="165100" prst="coolSlant"/>
          </a:sp3d>
        </p:spPr>
        <p:txBody>
          <a:bodyPr wrap="square">
            <a:spAutoFit/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>
              <a:buClr>
                <a:srgbClr val="000000"/>
              </a:buClr>
            </a:pPr>
            <a:r>
              <a:rPr lang="en-US" sz="1200" b="1" dirty="0">
                <a:ln w="50800"/>
                <a:solidFill>
                  <a:srgbClr val="000000"/>
                </a:solidFill>
              </a:rPr>
              <a:t>Add Value</a:t>
            </a:r>
          </a:p>
        </p:txBody>
      </p:sp>
      <p:sp>
        <p:nvSpPr>
          <p:cNvPr id="57" name="Right Arrow 56"/>
          <p:cNvSpPr/>
          <p:nvPr/>
        </p:nvSpPr>
        <p:spPr>
          <a:xfrm rot="20693777">
            <a:off x="5691622" y="5694650"/>
            <a:ext cx="993413" cy="289547"/>
          </a:xfrm>
          <a:prstGeom prst="rightArrow">
            <a:avLst/>
          </a:prstGeom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4067112" y="4949794"/>
            <a:ext cx="982961" cy="400110"/>
          </a:xfrm>
          <a:prstGeom prst="rect">
            <a:avLst/>
          </a:prstGeom>
        </p:spPr>
        <p:txBody>
          <a:bodyPr wrap="none">
            <a:sp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r>
              <a:rPr lang="en-US" sz="2000" b="1" dirty="0">
                <a:ln w="50800"/>
                <a:solidFill>
                  <a:srgbClr val="000000"/>
                </a:solidFill>
                <a:cs typeface="Arial" pitchFamily="34" charset="0"/>
              </a:rPr>
              <a:t>MY18</a:t>
            </a:r>
            <a:endParaRPr lang="en-US" sz="2000" b="1" dirty="0">
              <a:ln w="50800"/>
              <a:solidFill>
                <a:srgbClr val="000000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1600200" y="6339422"/>
            <a:ext cx="510540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effectLst>
            <a:softEdge rad="31750"/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C00000"/>
                </a:solidFill>
              </a:rPr>
              <a:t>SL Price Adjustment = $590 (</a:t>
            </a:r>
            <a:r>
              <a:rPr lang="en-US" b="1" dirty="0">
                <a:solidFill>
                  <a:srgbClr val="C00000"/>
                </a:solidFill>
                <a:sym typeface="Wingdings"/>
              </a:rPr>
              <a:t> </a:t>
            </a:r>
            <a:r>
              <a:rPr lang="en-US" b="1" dirty="0">
                <a:solidFill>
                  <a:srgbClr val="C00000"/>
                </a:solidFill>
              </a:rPr>
              <a:t>1.6%)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7196958" y="3903642"/>
            <a:ext cx="322404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B050"/>
                </a:solidFill>
              </a:rPr>
              <a:t>+$5,000 in value vs. MY17 SV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7196958" y="2530816"/>
            <a:ext cx="31215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B050"/>
                </a:solidFill>
              </a:rPr>
              <a:t>+$4,500 in value vs. MY17 S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7196958" y="6218472"/>
            <a:ext cx="28094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B050"/>
                </a:solidFill>
              </a:rPr>
              <a:t>+$6,783 in value vs. MY17 SL</a:t>
            </a:r>
          </a:p>
        </p:txBody>
      </p:sp>
      <p:sp>
        <p:nvSpPr>
          <p:cNvPr id="45" name="スライド番号プレースホルダー 3"/>
          <p:cNvSpPr txBox="1">
            <a:spLocks/>
          </p:cNvSpPr>
          <p:nvPr/>
        </p:nvSpPr>
        <p:spPr>
          <a:xfrm>
            <a:off x="11472597" y="6497933"/>
            <a:ext cx="71940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smtClean="0">
                <a:solidFill>
                  <a:prstClr val="white"/>
                </a:solidFill>
              </a:rPr>
              <a:t>  4</a:t>
            </a:r>
            <a:endParaRPr lang="en-US" sz="1400" dirty="0">
              <a:solidFill>
                <a:prstClr val="white"/>
              </a:solidFill>
            </a:endParaRPr>
          </a:p>
        </p:txBody>
      </p:sp>
      <p:pic>
        <p:nvPicPr>
          <p:cNvPr id="54" name="Picture 5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4600" y="-4092"/>
            <a:ext cx="3471558" cy="450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3037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>
                      <p:stCondLst>
                        <p:cond delay="indefinite"/>
                      </p:stCondLst>
                      <p:childTnLst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20" grpId="0"/>
      <p:bldP spid="21" grpId="0" animBg="1"/>
      <p:bldP spid="22" grpId="0" animBg="1"/>
      <p:bldP spid="27" grpId="0" animBg="1"/>
      <p:bldP spid="25" grpId="0" animBg="1"/>
      <p:bldP spid="26" grpId="0" animBg="1"/>
      <p:bldP spid="46" grpId="0" animBg="1"/>
      <p:bldP spid="48" grpId="0" animBg="1"/>
      <p:bldP spid="49" grpId="0" animBg="1"/>
      <p:bldP spid="53" grpId="0" animBg="1"/>
      <p:bldP spid="34" grpId="0" animBg="1"/>
      <p:bldP spid="36" grpId="0"/>
      <p:bldP spid="37" grpId="0" animBg="1"/>
      <p:bldP spid="38" grpId="0" animBg="1"/>
      <p:bldP spid="39" grpId="0" animBg="1"/>
      <p:bldP spid="40" grpId="0" animBg="1"/>
      <p:bldP spid="41" grpId="0" animBg="1"/>
      <p:bldP spid="42" grpId="0"/>
      <p:bldP spid="43" grpId="0" animBg="1"/>
      <p:bldP spid="44" grpId="0"/>
      <p:bldP spid="47" grpId="0" animBg="1"/>
      <p:bldP spid="50" grpId="0" animBg="1"/>
      <p:bldP spid="51" grpId="0" animBg="1"/>
      <p:bldP spid="52" grpId="0" animBg="1"/>
      <p:bldP spid="57" grpId="0" animBg="1"/>
      <p:bldP spid="62" grpId="0"/>
      <p:bldP spid="63" grpId="0" animBg="1"/>
      <p:bldP spid="2" grpId="0"/>
      <p:bldP spid="64" grpId="0"/>
      <p:bldP spid="65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64299" y="4278920"/>
            <a:ext cx="3490037" cy="239476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8596" y="4278920"/>
            <a:ext cx="3636170" cy="239484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232" y="140276"/>
            <a:ext cx="10158663" cy="573512"/>
          </a:xfrm>
        </p:spPr>
        <p:txBody>
          <a:bodyPr/>
          <a:lstStyle/>
          <a:p>
            <a:r>
              <a:rPr lang="en-US" sz="2800" b="1" dirty="0"/>
              <a:t>MY18 LEAF Key Takeaways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579622" y="758015"/>
            <a:ext cx="11383774" cy="3242155"/>
            <a:chOff x="407368" y="1124744"/>
            <a:chExt cx="11383774" cy="3242155"/>
          </a:xfrm>
        </p:grpSpPr>
        <p:sp>
          <p:nvSpPr>
            <p:cNvPr id="22" name="TextBox 21"/>
            <p:cNvSpPr txBox="1"/>
            <p:nvPr/>
          </p:nvSpPr>
          <p:spPr>
            <a:xfrm>
              <a:off x="1271464" y="1124744"/>
              <a:ext cx="4752528" cy="31700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300000"/>
                </a:lnSpc>
                <a:spcAft>
                  <a:spcPts val="1200"/>
                </a:spcAft>
              </a:pPr>
              <a:r>
                <a:rPr lang="en-US" sz="2000" b="1" dirty="0">
                  <a:solidFill>
                    <a:srgbClr val="000000">
                      <a:lumMod val="75000"/>
                      <a:lumOff val="25000"/>
                    </a:srgbClr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All New Design</a:t>
              </a:r>
            </a:p>
            <a:p>
              <a:pPr>
                <a:lnSpc>
                  <a:spcPct val="300000"/>
                </a:lnSpc>
                <a:spcAft>
                  <a:spcPts val="1200"/>
                </a:spcAft>
              </a:pPr>
              <a:r>
                <a:rPr lang="en-US" sz="2000" b="1" dirty="0">
                  <a:solidFill>
                    <a:srgbClr val="000000">
                      <a:lumMod val="75000"/>
                      <a:lumOff val="25000"/>
                    </a:srgbClr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40kWh Battery, +40% Range</a:t>
              </a:r>
            </a:p>
            <a:p>
              <a:pPr>
                <a:lnSpc>
                  <a:spcPct val="300000"/>
                </a:lnSpc>
                <a:spcAft>
                  <a:spcPts val="1200"/>
                </a:spcAft>
              </a:pPr>
              <a:r>
                <a:rPr lang="en-US" sz="2000" b="1" dirty="0">
                  <a:solidFill>
                    <a:srgbClr val="000000">
                      <a:lumMod val="75000"/>
                      <a:lumOff val="25000"/>
                    </a:srgbClr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+37% HP, +26% TQ</a:t>
              </a:r>
            </a:p>
          </p:txBody>
        </p:sp>
        <p:pic>
          <p:nvPicPr>
            <p:cNvPr id="23" name="Picture 4" descr="https://image.flaticon.com/sprites/new_packs/111835-battery-loading-status.png"/>
            <p:cNvPicPr>
              <a:picLocks noChangeAspect="1" noChangeArrowheads="1"/>
            </p:cNvPicPr>
            <p:nvPr/>
          </p:nvPicPr>
          <p:blipFill rotWithShape="1">
            <a:blip r:embed="rId4" cstate="email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5279" r="34481" b="66510"/>
            <a:stretch/>
          </p:blipFill>
          <p:spPr bwMode="auto">
            <a:xfrm>
              <a:off x="471330" y="2349969"/>
              <a:ext cx="652486" cy="8630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6" descr="https://image.freepik.com/free-icon/car-speedometer_318-37679.jpg"/>
            <p:cNvPicPr>
              <a:picLocks noChangeAspect="1" noChangeArrowheads="1"/>
            </p:cNvPicPr>
            <p:nvPr/>
          </p:nvPicPr>
          <p:blipFill>
            <a:blip r:embed="rId5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1657" y="3551720"/>
              <a:ext cx="611833" cy="6118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4" descr="Related image"/>
            <p:cNvPicPr>
              <a:picLocks noChangeAspect="1" noChangeArrowheads="1"/>
            </p:cNvPicPr>
            <p:nvPr/>
          </p:nvPicPr>
          <p:blipFill rotWithShape="1">
            <a:blip r:embed="rId6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 flipH="1">
              <a:off x="6168008" y="1528329"/>
              <a:ext cx="778902" cy="5664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12" descr="Related image"/>
            <p:cNvPicPr>
              <a:picLocks noChangeAspect="1" noChangeArrowheads="1"/>
            </p:cNvPicPr>
            <p:nvPr/>
          </p:nvPicPr>
          <p:blipFill>
            <a:blip r:embed="rId7" cstate="email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31216" y="3640609"/>
              <a:ext cx="652487" cy="6524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6" descr="Related image"/>
            <p:cNvPicPr>
              <a:picLocks noChangeAspect="1" noChangeArrowheads="1"/>
            </p:cNvPicPr>
            <p:nvPr/>
          </p:nvPicPr>
          <p:blipFill>
            <a:blip r:embed="rId8" cstate="email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46526" y="2591157"/>
              <a:ext cx="621867" cy="6218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20" descr="Related image"/>
            <p:cNvPicPr>
              <a:picLocks noChangeAspect="1" noChangeArrowheads="1"/>
            </p:cNvPicPr>
            <p:nvPr/>
          </p:nvPicPr>
          <p:blipFill rotWithShape="1">
            <a:blip r:embed="rId9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07368" y="1442164"/>
              <a:ext cx="780410" cy="6105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TextBox 28"/>
            <p:cNvSpPr txBox="1"/>
            <p:nvPr/>
          </p:nvSpPr>
          <p:spPr>
            <a:xfrm>
              <a:off x="7038614" y="1196800"/>
              <a:ext cx="4752528" cy="31700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300000"/>
                </a:lnSpc>
                <a:spcAft>
                  <a:spcPts val="1200"/>
                </a:spcAft>
              </a:pPr>
              <a:r>
                <a:rPr lang="en-US" sz="2000" b="1" dirty="0">
                  <a:solidFill>
                    <a:srgbClr val="000000">
                      <a:lumMod val="75000"/>
                      <a:lumOff val="25000"/>
                    </a:srgbClr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e-Pedal </a:t>
              </a:r>
              <a:endParaRPr lang="en-US" sz="2400" b="1" dirty="0">
                <a:solidFill>
                  <a:srgbClr val="000000">
                    <a:lumMod val="75000"/>
                    <a:lumOff val="25000"/>
                  </a:srgbClr>
                </a:solidFill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>
                <a:lnSpc>
                  <a:spcPct val="300000"/>
                </a:lnSpc>
                <a:spcAft>
                  <a:spcPts val="1200"/>
                </a:spcAft>
              </a:pPr>
              <a:r>
                <a:rPr lang="en-US" sz="2000" b="1" dirty="0" err="1">
                  <a:solidFill>
                    <a:srgbClr val="000000">
                      <a:lumMod val="75000"/>
                      <a:lumOff val="25000"/>
                    </a:srgbClr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ProPILOT</a:t>
              </a:r>
              <a:r>
                <a:rPr lang="en-US" sz="2000" b="1" dirty="0">
                  <a:solidFill>
                    <a:srgbClr val="000000">
                      <a:lumMod val="75000"/>
                      <a:lumOff val="25000"/>
                    </a:srgbClr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 Assist</a:t>
              </a:r>
            </a:p>
            <a:p>
              <a:pPr>
                <a:lnSpc>
                  <a:spcPct val="300000"/>
                </a:lnSpc>
                <a:spcAft>
                  <a:spcPts val="1200"/>
                </a:spcAft>
              </a:pPr>
              <a:r>
                <a:rPr lang="en-US" sz="2000" b="1" dirty="0">
                  <a:solidFill>
                    <a:srgbClr val="000000">
                      <a:lumMod val="75000"/>
                      <a:lumOff val="25000"/>
                    </a:srgbClr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Automatic Emergency Braking</a:t>
              </a:r>
            </a:p>
          </p:txBody>
        </p:sp>
      </p:grpSp>
      <p:pic>
        <p:nvPicPr>
          <p:cNvPr id="13" name="Picture 12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4600" y="60204"/>
            <a:ext cx="3471558" cy="45047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27922" y="4100186"/>
            <a:ext cx="3536157" cy="235539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945342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FD23BE3D-6B45-4796-9526-9338D7F2E88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437146" y="-3634213"/>
            <a:ext cx="12525390" cy="1432904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00950" y="3119959"/>
            <a:ext cx="4799207" cy="1066035"/>
          </a:xfrm>
        </p:spPr>
        <p:txBody>
          <a:bodyPr/>
          <a:lstStyle/>
          <a:p>
            <a:r>
              <a:rPr lang="en-US" dirty="0" smtClean="0"/>
              <a:t>Thank you!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474076" y="-421624"/>
            <a:ext cx="8917321" cy="7705293"/>
          </a:xfrm>
          <a:prstGeom prst="ellipse">
            <a:avLst/>
          </a:prstGeom>
          <a:ln w="63500" cap="rnd">
            <a:solidFill>
              <a:schemeClr val="accent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4600" y="60204"/>
            <a:ext cx="3471558" cy="450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566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i="1" dirty="0" smtClean="0">
                <a:solidFill>
                  <a:schemeClr val="bg2"/>
                </a:solidFill>
              </a:rPr>
              <a:t>Paul Minahan</a:t>
            </a:r>
            <a:endParaRPr lang="en-US" i="1" dirty="0">
              <a:solidFill>
                <a:schemeClr val="bg2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69432" y="3534850"/>
            <a:ext cx="6532234" cy="1655762"/>
          </a:xfrm>
        </p:spPr>
        <p:txBody>
          <a:bodyPr/>
          <a:lstStyle/>
          <a:p>
            <a:r>
              <a:rPr lang="en-US" i="1" dirty="0" smtClean="0"/>
              <a:t>Sr. Manager EV Fleet Sales Operations</a:t>
            </a: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198749043"/>
      </p:ext>
    </p:extLst>
  </p:cSld>
  <p:clrMapOvr>
    <a:masterClrMapping/>
  </p:clrMapOvr>
  <mc:AlternateContent xmlns:mc="http://schemas.openxmlformats.org/markup-compatibility/2006">
    <mc:Choice xmlns=""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-5488" y="38666"/>
            <a:ext cx="11887200" cy="727075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i="0" kern="1200">
                <a:solidFill>
                  <a:schemeClr val="tx1"/>
                </a:solidFill>
                <a:latin typeface="Verdana" panose="020B0604030504040204" pitchFamily="34" charset="0"/>
                <a:ea typeface="+mj-ea"/>
                <a:cs typeface="+mj-cs"/>
              </a:defRPr>
            </a:lvl1pPr>
          </a:lstStyle>
          <a:p>
            <a:r>
              <a:rPr lang="en-US" sz="2800" b="1" dirty="0" smtClean="0">
                <a:solidFill>
                  <a:srgbClr val="000000"/>
                </a:solidFill>
              </a:rPr>
              <a:t>LEAF Milestones to Date</a:t>
            </a:r>
            <a:r>
              <a:rPr lang="en-US" sz="2900" dirty="0" smtClean="0">
                <a:solidFill>
                  <a:srgbClr val="000000"/>
                </a:solidFill>
              </a:rPr>
              <a:t/>
            </a:r>
            <a:br>
              <a:rPr lang="en-US" sz="2900" dirty="0" smtClean="0">
                <a:solidFill>
                  <a:srgbClr val="000000"/>
                </a:solidFill>
              </a:rPr>
            </a:br>
            <a:r>
              <a:rPr lang="en-US" sz="2000" dirty="0" smtClean="0">
                <a:solidFill>
                  <a:srgbClr val="C00000"/>
                </a:solidFill>
              </a:rPr>
              <a:t>Nissan’s EV Evolution</a:t>
            </a:r>
            <a:endParaRPr lang="en-US" sz="2000" dirty="0">
              <a:solidFill>
                <a:srgbClr val="C00000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-231032" y="544357"/>
            <a:ext cx="12338288" cy="5821625"/>
            <a:chOff x="-168696" y="339637"/>
            <a:chExt cx="12338288" cy="5821625"/>
          </a:xfrm>
        </p:grpSpPr>
        <p:cxnSp>
          <p:nvCxnSpPr>
            <p:cNvPr id="7" name="Straight Connector 6"/>
            <p:cNvCxnSpPr/>
            <p:nvPr/>
          </p:nvCxnSpPr>
          <p:spPr>
            <a:xfrm>
              <a:off x="172198" y="3263219"/>
              <a:ext cx="11887200" cy="0"/>
            </a:xfrm>
            <a:prstGeom prst="line">
              <a:avLst/>
            </a:prstGeom>
            <a:ln w="476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Oval 7"/>
            <p:cNvSpPr/>
            <p:nvPr/>
          </p:nvSpPr>
          <p:spPr>
            <a:xfrm>
              <a:off x="332621" y="3145447"/>
              <a:ext cx="192505" cy="214024"/>
            </a:xfrm>
            <a:prstGeom prst="ellipse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cxnSp>
          <p:nvCxnSpPr>
            <p:cNvPr id="9" name="Straight Connector 8"/>
            <p:cNvCxnSpPr/>
            <p:nvPr/>
          </p:nvCxnSpPr>
          <p:spPr>
            <a:xfrm>
              <a:off x="412829" y="2360104"/>
              <a:ext cx="1" cy="8013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/>
            <p:cNvSpPr txBox="1"/>
            <p:nvPr/>
          </p:nvSpPr>
          <p:spPr>
            <a:xfrm>
              <a:off x="-168696" y="3522477"/>
              <a:ext cx="119513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rgbClr val="000000"/>
                  </a:solidFill>
                </a:rPr>
                <a:t>2010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9445584" y="3391947"/>
              <a:ext cx="119513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rgbClr val="000000"/>
                  </a:solidFill>
                </a:rPr>
                <a:t>2016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391205" y="4024188"/>
              <a:ext cx="1210231" cy="954107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solidFill>
                    <a:srgbClr val="000000"/>
                  </a:solidFill>
                  <a:latin typeface="Franklin Gothic Heavy" panose="020B0903020102020204" pitchFamily="34" charset="0"/>
                </a:rPr>
                <a:t>LEAF wins World Car of the Year</a:t>
              </a:r>
            </a:p>
            <a:p>
              <a:pPr algn="ctr"/>
              <a:r>
                <a:rPr lang="en-US" sz="1400" dirty="0">
                  <a:solidFill>
                    <a:srgbClr val="000000"/>
                  </a:solidFill>
                  <a:latin typeface="Franklin Gothic Heavy" panose="020B0903020102020204" pitchFamily="34" charset="0"/>
                </a:rPr>
                <a:t>(Jan 2011)</a:t>
              </a:r>
            </a:p>
          </p:txBody>
        </p:sp>
        <p:sp>
          <p:nvSpPr>
            <p:cNvPr id="13" name="Oval 12"/>
            <p:cNvSpPr/>
            <p:nvPr/>
          </p:nvSpPr>
          <p:spPr>
            <a:xfrm>
              <a:off x="1032254" y="3170484"/>
              <a:ext cx="192505" cy="214024"/>
            </a:xfrm>
            <a:prstGeom prst="ellipse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2895130" y="3144247"/>
              <a:ext cx="192505" cy="214024"/>
            </a:xfrm>
            <a:prstGeom prst="ellipse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7" name="Oval 16"/>
            <p:cNvSpPr/>
            <p:nvPr/>
          </p:nvSpPr>
          <p:spPr>
            <a:xfrm>
              <a:off x="4634080" y="3156207"/>
              <a:ext cx="192505" cy="214024"/>
            </a:xfrm>
            <a:prstGeom prst="ellipse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8" name="Oval 17"/>
            <p:cNvSpPr/>
            <p:nvPr/>
          </p:nvSpPr>
          <p:spPr>
            <a:xfrm>
              <a:off x="2071571" y="3161489"/>
              <a:ext cx="192505" cy="214024"/>
            </a:xfrm>
            <a:prstGeom prst="ellipse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9" name="Oval 18"/>
            <p:cNvSpPr/>
            <p:nvPr/>
          </p:nvSpPr>
          <p:spPr>
            <a:xfrm>
              <a:off x="3690061" y="3161489"/>
              <a:ext cx="192505" cy="214024"/>
            </a:xfrm>
            <a:prstGeom prst="ellipse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0" name="Oval 19"/>
            <p:cNvSpPr/>
            <p:nvPr/>
          </p:nvSpPr>
          <p:spPr>
            <a:xfrm>
              <a:off x="5653868" y="3177923"/>
              <a:ext cx="192505" cy="214024"/>
            </a:xfrm>
            <a:prstGeom prst="ellipse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7027556" y="3168620"/>
              <a:ext cx="192505" cy="214024"/>
            </a:xfrm>
            <a:prstGeom prst="ellipse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9113111" y="3145447"/>
              <a:ext cx="192505" cy="214024"/>
            </a:xfrm>
            <a:prstGeom prst="ellipse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3" name="Oval 22"/>
            <p:cNvSpPr/>
            <p:nvPr/>
          </p:nvSpPr>
          <p:spPr>
            <a:xfrm>
              <a:off x="7527377" y="3156207"/>
              <a:ext cx="192505" cy="214024"/>
            </a:xfrm>
            <a:prstGeom prst="ellipse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4" name="Oval 23"/>
            <p:cNvSpPr/>
            <p:nvPr/>
          </p:nvSpPr>
          <p:spPr>
            <a:xfrm>
              <a:off x="6215347" y="3168620"/>
              <a:ext cx="192505" cy="214024"/>
            </a:xfrm>
            <a:prstGeom prst="ellipse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5" name="Oval 24"/>
            <p:cNvSpPr/>
            <p:nvPr/>
          </p:nvSpPr>
          <p:spPr>
            <a:xfrm>
              <a:off x="10448217" y="3144247"/>
              <a:ext cx="192505" cy="214024"/>
            </a:xfrm>
            <a:prstGeom prst="ellipse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cxnSp>
          <p:nvCxnSpPr>
            <p:cNvPr id="26" name="Straight Connector 25"/>
            <p:cNvCxnSpPr/>
            <p:nvPr/>
          </p:nvCxnSpPr>
          <p:spPr>
            <a:xfrm>
              <a:off x="1128505" y="3222803"/>
              <a:ext cx="1" cy="8013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>
              <a:off x="2165947" y="3263219"/>
              <a:ext cx="1" cy="8013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TextBox 27"/>
            <p:cNvSpPr txBox="1"/>
            <p:nvPr/>
          </p:nvSpPr>
          <p:spPr>
            <a:xfrm>
              <a:off x="1735357" y="3604795"/>
              <a:ext cx="1588169" cy="738664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solidFill>
                    <a:srgbClr val="000000"/>
                  </a:solidFill>
                  <a:latin typeface="Franklin Gothic Heavy" panose="020B0903020102020204" pitchFamily="34" charset="0"/>
                  <a:cs typeface="Aharoni" panose="02010803020104030203" pitchFamily="2" charset="-79"/>
                </a:rPr>
                <a:t>US LEAF Battery Plant Opens</a:t>
              </a:r>
            </a:p>
            <a:p>
              <a:pPr algn="ctr"/>
              <a:r>
                <a:rPr lang="en-US" sz="1400" dirty="0">
                  <a:solidFill>
                    <a:srgbClr val="000000"/>
                  </a:solidFill>
                  <a:latin typeface="Franklin Gothic Heavy" panose="020B0903020102020204" pitchFamily="34" charset="0"/>
                  <a:cs typeface="Aharoni" panose="02010803020104030203" pitchFamily="2" charset="-79"/>
                </a:rPr>
                <a:t>(Dec 2012)</a:t>
              </a:r>
            </a:p>
          </p:txBody>
        </p:sp>
        <p:cxnSp>
          <p:nvCxnSpPr>
            <p:cNvPr id="29" name="Straight Connector 28"/>
            <p:cNvCxnSpPr/>
            <p:nvPr/>
          </p:nvCxnSpPr>
          <p:spPr>
            <a:xfrm>
              <a:off x="2984888" y="2377961"/>
              <a:ext cx="1" cy="8013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Box 29"/>
            <p:cNvSpPr txBox="1"/>
            <p:nvPr/>
          </p:nvSpPr>
          <p:spPr>
            <a:xfrm>
              <a:off x="1821067" y="2045426"/>
              <a:ext cx="1437270" cy="738664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solidFill>
                    <a:srgbClr val="000000"/>
                  </a:solidFill>
                  <a:latin typeface="Franklin Gothic Heavy" panose="020B0903020102020204" pitchFamily="34" charset="0"/>
                </a:rPr>
                <a:t>LEAF S Trim SOS</a:t>
              </a:r>
            </a:p>
            <a:p>
              <a:pPr algn="ctr"/>
              <a:r>
                <a:rPr lang="en-US" sz="1400" dirty="0">
                  <a:solidFill>
                    <a:srgbClr val="000000"/>
                  </a:solidFill>
                  <a:latin typeface="Franklin Gothic Heavy" panose="020B0903020102020204" pitchFamily="34" charset="0"/>
                </a:rPr>
                <a:t>(Feb 2013)</a:t>
              </a:r>
            </a:p>
          </p:txBody>
        </p:sp>
        <p:cxnSp>
          <p:nvCxnSpPr>
            <p:cNvPr id="31" name="Straight Connector 30"/>
            <p:cNvCxnSpPr/>
            <p:nvPr/>
          </p:nvCxnSpPr>
          <p:spPr>
            <a:xfrm>
              <a:off x="3771253" y="2464747"/>
              <a:ext cx="1" cy="8013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extBox 31"/>
            <p:cNvSpPr txBox="1"/>
            <p:nvPr/>
          </p:nvSpPr>
          <p:spPr>
            <a:xfrm>
              <a:off x="3537203" y="2118267"/>
              <a:ext cx="1201372" cy="738664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solidFill>
                    <a:srgbClr val="000000"/>
                  </a:solidFill>
                  <a:latin typeface="Franklin Gothic Heavy" panose="020B0903020102020204" pitchFamily="34" charset="0"/>
                </a:rPr>
                <a:t>25K U.S. LEAFs sold</a:t>
              </a:r>
            </a:p>
            <a:p>
              <a:pPr algn="ctr"/>
              <a:r>
                <a:rPr lang="en-US" sz="1400" dirty="0">
                  <a:solidFill>
                    <a:srgbClr val="000000"/>
                  </a:solidFill>
                  <a:latin typeface="Franklin Gothic Heavy" panose="020B0903020102020204" pitchFamily="34" charset="0"/>
                </a:rPr>
                <a:t>(Apr 2013)</a:t>
              </a:r>
            </a:p>
          </p:txBody>
        </p:sp>
        <p:cxnSp>
          <p:nvCxnSpPr>
            <p:cNvPr id="33" name="Straight Connector 32"/>
            <p:cNvCxnSpPr/>
            <p:nvPr/>
          </p:nvCxnSpPr>
          <p:spPr>
            <a:xfrm>
              <a:off x="4722770" y="3268501"/>
              <a:ext cx="1" cy="8013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TextBox 33"/>
            <p:cNvSpPr txBox="1"/>
            <p:nvPr/>
          </p:nvSpPr>
          <p:spPr>
            <a:xfrm>
              <a:off x="3580394" y="3983416"/>
              <a:ext cx="1388192" cy="738664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solidFill>
                    <a:srgbClr val="000000"/>
                  </a:solidFill>
                  <a:latin typeface="Franklin Gothic Heavy" panose="020B0903020102020204" pitchFamily="34" charset="0"/>
                </a:rPr>
                <a:t>First LEAF CPO sale</a:t>
              </a:r>
            </a:p>
            <a:p>
              <a:pPr algn="ctr"/>
              <a:r>
                <a:rPr lang="en-US" sz="1400" dirty="0">
                  <a:solidFill>
                    <a:srgbClr val="000000"/>
                  </a:solidFill>
                  <a:latin typeface="Franklin Gothic Heavy" panose="020B0903020102020204" pitchFamily="34" charset="0"/>
                </a:rPr>
                <a:t>(Sep 2013)</a:t>
              </a:r>
            </a:p>
          </p:txBody>
        </p:sp>
        <p:cxnSp>
          <p:nvCxnSpPr>
            <p:cNvPr id="35" name="Straight Connector 34"/>
            <p:cNvCxnSpPr/>
            <p:nvPr/>
          </p:nvCxnSpPr>
          <p:spPr>
            <a:xfrm>
              <a:off x="5765166" y="3286154"/>
              <a:ext cx="1" cy="8013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TextBox 35"/>
            <p:cNvSpPr txBox="1"/>
            <p:nvPr/>
          </p:nvSpPr>
          <p:spPr>
            <a:xfrm>
              <a:off x="5171422" y="3848111"/>
              <a:ext cx="1295921" cy="738664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solidFill>
                    <a:srgbClr val="000000"/>
                  </a:solidFill>
                  <a:latin typeface="Franklin Gothic Heavy" panose="020B0903020102020204" pitchFamily="34" charset="0"/>
                </a:rPr>
                <a:t>50K U.S. LEAFs sold</a:t>
              </a:r>
            </a:p>
            <a:p>
              <a:pPr algn="ctr"/>
              <a:r>
                <a:rPr lang="en-US" sz="1400" dirty="0">
                  <a:solidFill>
                    <a:srgbClr val="000000"/>
                  </a:solidFill>
                  <a:latin typeface="Franklin Gothic Heavy" panose="020B0903020102020204" pitchFamily="34" charset="0"/>
                </a:rPr>
                <a:t>(May 2014)</a:t>
              </a:r>
            </a:p>
          </p:txBody>
        </p:sp>
        <p:cxnSp>
          <p:nvCxnSpPr>
            <p:cNvPr id="37" name="Straight Connector 36"/>
            <p:cNvCxnSpPr/>
            <p:nvPr/>
          </p:nvCxnSpPr>
          <p:spPr>
            <a:xfrm>
              <a:off x="6301885" y="2376786"/>
              <a:ext cx="1" cy="8013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TextBox 37"/>
            <p:cNvSpPr txBox="1"/>
            <p:nvPr/>
          </p:nvSpPr>
          <p:spPr>
            <a:xfrm>
              <a:off x="5257355" y="1850550"/>
              <a:ext cx="1260663" cy="954107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solidFill>
                    <a:srgbClr val="000000"/>
                  </a:solidFill>
                  <a:latin typeface="Franklin Gothic Heavy" panose="020B0903020102020204" pitchFamily="34" charset="0"/>
                </a:rPr>
                <a:t>No Charge to Charge Launch</a:t>
              </a:r>
            </a:p>
            <a:p>
              <a:pPr algn="ctr"/>
              <a:r>
                <a:rPr lang="en-US" sz="1400" dirty="0">
                  <a:solidFill>
                    <a:srgbClr val="000000"/>
                  </a:solidFill>
                  <a:latin typeface="Franklin Gothic Heavy" panose="020B0903020102020204" pitchFamily="34" charset="0"/>
                </a:rPr>
                <a:t>(Jul 2014)</a:t>
              </a:r>
            </a:p>
          </p:txBody>
        </p:sp>
        <p:cxnSp>
          <p:nvCxnSpPr>
            <p:cNvPr id="39" name="Straight Connector 38"/>
            <p:cNvCxnSpPr/>
            <p:nvPr/>
          </p:nvCxnSpPr>
          <p:spPr>
            <a:xfrm>
              <a:off x="7129073" y="3250221"/>
              <a:ext cx="1" cy="8013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TextBox 39"/>
            <p:cNvSpPr txBox="1"/>
            <p:nvPr/>
          </p:nvSpPr>
          <p:spPr>
            <a:xfrm>
              <a:off x="6716683" y="3623139"/>
              <a:ext cx="1302067" cy="1169551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solidFill>
                    <a:srgbClr val="000000"/>
                  </a:solidFill>
                  <a:latin typeface="Franklin Gothic Heavy" panose="020B0903020102020204" pitchFamily="34" charset="0"/>
                </a:rPr>
                <a:t>LEAF wins IHS Loyalty Award for 1st Time</a:t>
              </a:r>
            </a:p>
            <a:p>
              <a:pPr algn="ctr"/>
              <a:r>
                <a:rPr lang="en-US" sz="1400" dirty="0">
                  <a:solidFill>
                    <a:srgbClr val="000000"/>
                  </a:solidFill>
                  <a:latin typeface="Franklin Gothic Heavy" panose="020B0903020102020204" pitchFamily="34" charset="0"/>
                </a:rPr>
                <a:t>(Jan 2015)</a:t>
              </a:r>
            </a:p>
          </p:txBody>
        </p:sp>
        <p:cxnSp>
          <p:nvCxnSpPr>
            <p:cNvPr id="41" name="Straight Connector 40"/>
            <p:cNvCxnSpPr/>
            <p:nvPr/>
          </p:nvCxnSpPr>
          <p:spPr>
            <a:xfrm>
              <a:off x="7624199" y="2415466"/>
              <a:ext cx="1" cy="8013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TextBox 41"/>
            <p:cNvSpPr txBox="1"/>
            <p:nvPr/>
          </p:nvSpPr>
          <p:spPr>
            <a:xfrm>
              <a:off x="8585031" y="1632593"/>
              <a:ext cx="1588169" cy="738664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solidFill>
                    <a:srgbClr val="000000"/>
                  </a:solidFill>
                  <a:latin typeface="Franklin Gothic Heavy" panose="020B0903020102020204" pitchFamily="34" charset="0"/>
                </a:rPr>
                <a:t>107 Mile Battery launch</a:t>
              </a:r>
            </a:p>
            <a:p>
              <a:pPr algn="ctr"/>
              <a:r>
                <a:rPr lang="en-US" sz="1400" dirty="0">
                  <a:solidFill>
                    <a:srgbClr val="000000"/>
                  </a:solidFill>
                  <a:latin typeface="Franklin Gothic Heavy" panose="020B0903020102020204" pitchFamily="34" charset="0"/>
                </a:rPr>
                <a:t>(Nov 2015)</a:t>
              </a:r>
            </a:p>
          </p:txBody>
        </p:sp>
        <p:cxnSp>
          <p:nvCxnSpPr>
            <p:cNvPr id="43" name="Straight Connector 42"/>
            <p:cNvCxnSpPr/>
            <p:nvPr/>
          </p:nvCxnSpPr>
          <p:spPr>
            <a:xfrm>
              <a:off x="8823292" y="3323484"/>
              <a:ext cx="1" cy="8013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TextBox 43"/>
            <p:cNvSpPr txBox="1"/>
            <p:nvPr/>
          </p:nvSpPr>
          <p:spPr>
            <a:xfrm>
              <a:off x="6811519" y="1767464"/>
              <a:ext cx="1288906" cy="738664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solidFill>
                    <a:srgbClr val="000000"/>
                  </a:solidFill>
                  <a:latin typeface="Franklin Gothic Heavy" panose="020B0903020102020204" pitchFamily="34" charset="0"/>
                </a:rPr>
                <a:t>75K U.S. LEAFs sold</a:t>
              </a:r>
            </a:p>
            <a:p>
              <a:pPr algn="ctr"/>
              <a:r>
                <a:rPr lang="en-US" sz="1400" dirty="0">
                  <a:solidFill>
                    <a:srgbClr val="000000"/>
                  </a:solidFill>
                  <a:latin typeface="Franklin Gothic Heavy" panose="020B0903020102020204" pitchFamily="34" charset="0"/>
                </a:rPr>
                <a:t>(Mar 2015)</a:t>
              </a:r>
            </a:p>
          </p:txBody>
        </p:sp>
        <p:cxnSp>
          <p:nvCxnSpPr>
            <p:cNvPr id="45" name="Straight Connector 44"/>
            <p:cNvCxnSpPr/>
            <p:nvPr/>
          </p:nvCxnSpPr>
          <p:spPr>
            <a:xfrm>
              <a:off x="9226583" y="2376538"/>
              <a:ext cx="1" cy="8013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TextBox 45"/>
            <p:cNvSpPr txBox="1"/>
            <p:nvPr/>
          </p:nvSpPr>
          <p:spPr>
            <a:xfrm>
              <a:off x="9448330" y="4124869"/>
              <a:ext cx="1404661" cy="954107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solidFill>
                    <a:srgbClr val="000000"/>
                  </a:solidFill>
                  <a:latin typeface="Franklin Gothic Heavy" panose="020B0903020102020204" pitchFamily="34" charset="0"/>
                </a:rPr>
                <a:t>LEAF wins IHS Loyalty Award for 2</a:t>
              </a:r>
              <a:r>
                <a:rPr lang="en-US" sz="1400" baseline="30000" dirty="0">
                  <a:solidFill>
                    <a:srgbClr val="000000"/>
                  </a:solidFill>
                  <a:latin typeface="Franklin Gothic Heavy" panose="020B0903020102020204" pitchFamily="34" charset="0"/>
                </a:rPr>
                <a:t>nd</a:t>
              </a:r>
              <a:r>
                <a:rPr lang="en-US" sz="1400" dirty="0">
                  <a:solidFill>
                    <a:srgbClr val="000000"/>
                  </a:solidFill>
                  <a:latin typeface="Franklin Gothic Heavy" panose="020B0903020102020204" pitchFamily="34" charset="0"/>
                </a:rPr>
                <a:t> Time</a:t>
              </a:r>
            </a:p>
            <a:p>
              <a:pPr algn="ctr"/>
              <a:r>
                <a:rPr lang="en-US" sz="1400" dirty="0">
                  <a:solidFill>
                    <a:srgbClr val="000000"/>
                  </a:solidFill>
                  <a:latin typeface="Franklin Gothic Heavy" panose="020B0903020102020204" pitchFamily="34" charset="0"/>
                </a:rPr>
                <a:t>(Jan 2016)</a:t>
              </a:r>
            </a:p>
          </p:txBody>
        </p:sp>
        <p:pic>
          <p:nvPicPr>
            <p:cNvPr id="47" name="Picture 46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50574" y="5010692"/>
              <a:ext cx="1245385" cy="1086575"/>
            </a:xfrm>
            <a:prstGeom prst="rect">
              <a:avLst/>
            </a:prstGeom>
          </p:spPr>
        </p:pic>
        <p:pic>
          <p:nvPicPr>
            <p:cNvPr id="48" name="Picture 47"/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821067" y="4393393"/>
              <a:ext cx="1492335" cy="876451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49" name="Picture 48"/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33463" y="1099222"/>
              <a:ext cx="1309837" cy="10133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50" name="TextBox 49"/>
            <p:cNvSpPr txBox="1"/>
            <p:nvPr/>
          </p:nvSpPr>
          <p:spPr>
            <a:xfrm>
              <a:off x="172198" y="2138681"/>
              <a:ext cx="1390523" cy="52322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solidFill>
                    <a:srgbClr val="000000"/>
                  </a:solidFill>
                  <a:latin typeface="Franklin Gothic Heavy" panose="020B0903020102020204" pitchFamily="34" charset="0"/>
                </a:rPr>
                <a:t>1st LEAF sold</a:t>
              </a:r>
            </a:p>
            <a:p>
              <a:pPr algn="ctr"/>
              <a:r>
                <a:rPr lang="en-US" sz="1400" dirty="0">
                  <a:solidFill>
                    <a:srgbClr val="000000"/>
                  </a:solidFill>
                  <a:latin typeface="Franklin Gothic Heavy" panose="020B0903020102020204" pitchFamily="34" charset="0"/>
                </a:rPr>
                <a:t>(Dec 2010)</a:t>
              </a:r>
            </a:p>
          </p:txBody>
        </p:sp>
        <p:pic>
          <p:nvPicPr>
            <p:cNvPr id="51" name="Picture 50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09735" y="1099223"/>
              <a:ext cx="1448601" cy="932888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52" name="Rectangle 51"/>
            <p:cNvSpPr/>
            <p:nvPr/>
          </p:nvSpPr>
          <p:spPr>
            <a:xfrm>
              <a:off x="3537203" y="1268280"/>
              <a:ext cx="1201372" cy="830174"/>
            </a:xfrm>
            <a:prstGeom prst="rect">
              <a:avLst/>
            </a:prstGeom>
            <a:solidFill>
              <a:srgbClr val="CA163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200" b="1" dirty="0">
                  <a:solidFill>
                    <a:srgbClr val="FFFFFF"/>
                  </a:solidFill>
                </a:rPr>
                <a:t>25K</a:t>
              </a:r>
            </a:p>
          </p:txBody>
        </p:sp>
        <p:sp>
          <p:nvSpPr>
            <p:cNvPr id="53" name="Rectangle 52"/>
            <p:cNvSpPr/>
            <p:nvPr/>
          </p:nvSpPr>
          <p:spPr>
            <a:xfrm>
              <a:off x="5178437" y="4627852"/>
              <a:ext cx="1288906" cy="830174"/>
            </a:xfrm>
            <a:prstGeom prst="rect">
              <a:avLst/>
            </a:prstGeom>
            <a:solidFill>
              <a:srgbClr val="CA163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200" b="1" dirty="0">
                  <a:solidFill>
                    <a:srgbClr val="FFFFFF"/>
                  </a:solidFill>
                </a:rPr>
                <a:t>50K</a:t>
              </a:r>
            </a:p>
          </p:txBody>
        </p:sp>
        <p:sp>
          <p:nvSpPr>
            <p:cNvPr id="54" name="Rectangle 53"/>
            <p:cNvSpPr/>
            <p:nvPr/>
          </p:nvSpPr>
          <p:spPr>
            <a:xfrm>
              <a:off x="6811519" y="911448"/>
              <a:ext cx="1288906" cy="830174"/>
            </a:xfrm>
            <a:prstGeom prst="rect">
              <a:avLst/>
            </a:prstGeom>
            <a:solidFill>
              <a:srgbClr val="CA163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200" b="1" dirty="0">
                  <a:solidFill>
                    <a:srgbClr val="FFFFFF"/>
                  </a:solidFill>
                </a:rPr>
                <a:t>75K</a:t>
              </a:r>
            </a:p>
          </p:txBody>
        </p:sp>
        <p:pic>
          <p:nvPicPr>
            <p:cNvPr id="55" name="Picture 54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72263" y="4792690"/>
              <a:ext cx="1004453" cy="1015998"/>
            </a:xfrm>
            <a:prstGeom prst="rect">
              <a:avLst/>
            </a:prstGeom>
          </p:spPr>
        </p:pic>
        <p:pic>
          <p:nvPicPr>
            <p:cNvPr id="56" name="Picture 55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64988" y="513238"/>
              <a:ext cx="1238962" cy="1314378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57" name="Picture 56"/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24884" y="4853219"/>
              <a:ext cx="965557" cy="965557"/>
            </a:xfrm>
            <a:prstGeom prst="rect">
              <a:avLst/>
            </a:prstGeom>
          </p:spPr>
        </p:pic>
        <p:pic>
          <p:nvPicPr>
            <p:cNvPr id="58" name="Picture 57"/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22241" y="5117800"/>
              <a:ext cx="965557" cy="965557"/>
            </a:xfrm>
            <a:prstGeom prst="rect">
              <a:avLst/>
            </a:prstGeom>
          </p:spPr>
        </p:pic>
        <p:pic>
          <p:nvPicPr>
            <p:cNvPr id="59" name="Picture 58"/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2072" y="339637"/>
              <a:ext cx="1222505" cy="1222505"/>
            </a:xfrm>
            <a:prstGeom prst="rect">
              <a:avLst/>
            </a:prstGeom>
          </p:spPr>
        </p:pic>
        <p:sp>
          <p:nvSpPr>
            <p:cNvPr id="60" name="Oval 59"/>
            <p:cNvSpPr/>
            <p:nvPr/>
          </p:nvSpPr>
          <p:spPr>
            <a:xfrm>
              <a:off x="8724773" y="3145447"/>
              <a:ext cx="192505" cy="214024"/>
            </a:xfrm>
            <a:prstGeom prst="ellipse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cxnSp>
          <p:nvCxnSpPr>
            <p:cNvPr id="61" name="Straight Connector 60"/>
            <p:cNvCxnSpPr/>
            <p:nvPr/>
          </p:nvCxnSpPr>
          <p:spPr>
            <a:xfrm>
              <a:off x="10557488" y="3319996"/>
              <a:ext cx="1" cy="8013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TextBox 61"/>
            <p:cNvSpPr txBox="1"/>
            <p:nvPr/>
          </p:nvSpPr>
          <p:spPr>
            <a:xfrm>
              <a:off x="8201538" y="3765759"/>
              <a:ext cx="1163825" cy="138499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solidFill>
                    <a:srgbClr val="000000"/>
                  </a:solidFill>
                  <a:latin typeface="Franklin Gothic Heavy" panose="020B0903020102020204" pitchFamily="34" charset="0"/>
                </a:rPr>
                <a:t>2016 Nissan LEAF Announced in LA</a:t>
              </a:r>
            </a:p>
            <a:p>
              <a:pPr algn="ctr"/>
              <a:r>
                <a:rPr lang="en-US" sz="1400" dirty="0">
                  <a:solidFill>
                    <a:srgbClr val="000000"/>
                  </a:solidFill>
                  <a:latin typeface="Franklin Gothic Heavy" panose="020B0903020102020204" pitchFamily="34" charset="0"/>
                </a:rPr>
                <a:t>(Sep 2015)</a:t>
              </a:r>
            </a:p>
          </p:txBody>
        </p:sp>
        <p:pic>
          <p:nvPicPr>
            <p:cNvPr id="63" name="Picture 2" descr="http://o.aolcdn.com/dims-global/dims3/GLOB/legacy_thumbnail/750x422/quality/95/http:/www.blogcdn.com/slideshows/images/slides/361/511/0/S3615110/slug/l/2016-nissan-leaf-10-1.jpg"/>
            <p:cNvPicPr>
              <a:picLocks noChangeAspect="1" noChangeArrowheads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04570" y="5218175"/>
              <a:ext cx="1193616" cy="67160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4" name="Oval 63"/>
            <p:cNvSpPr/>
            <p:nvPr/>
          </p:nvSpPr>
          <p:spPr>
            <a:xfrm>
              <a:off x="11830978" y="3111771"/>
              <a:ext cx="192505" cy="214024"/>
            </a:xfrm>
            <a:prstGeom prst="ellipse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cxnSp>
          <p:nvCxnSpPr>
            <p:cNvPr id="65" name="Straight Connector 64"/>
            <p:cNvCxnSpPr/>
            <p:nvPr/>
          </p:nvCxnSpPr>
          <p:spPr>
            <a:xfrm>
              <a:off x="11944450" y="2342862"/>
              <a:ext cx="1" cy="8013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6" name="TextBox 65"/>
            <p:cNvSpPr txBox="1"/>
            <p:nvPr/>
          </p:nvSpPr>
          <p:spPr>
            <a:xfrm>
              <a:off x="10431911" y="3394047"/>
              <a:ext cx="119513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rgbClr val="000000"/>
                  </a:solidFill>
                </a:rPr>
                <a:t>2017</a:t>
              </a:r>
            </a:p>
          </p:txBody>
        </p:sp>
        <p:pic>
          <p:nvPicPr>
            <p:cNvPr id="67" name="Picture 66"/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346497" y="3140138"/>
              <a:ext cx="219475" cy="999831"/>
            </a:xfrm>
            <a:prstGeom prst="rect">
              <a:avLst/>
            </a:prstGeom>
          </p:spPr>
        </p:pic>
        <p:sp>
          <p:nvSpPr>
            <p:cNvPr id="68" name="TextBox 67"/>
            <p:cNvSpPr txBox="1"/>
            <p:nvPr/>
          </p:nvSpPr>
          <p:spPr>
            <a:xfrm>
              <a:off x="10898333" y="4122300"/>
              <a:ext cx="1263702" cy="1169551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solidFill>
                    <a:srgbClr val="000000"/>
                  </a:solidFill>
                  <a:latin typeface="Franklin Gothic Heavy" panose="020B0903020102020204" pitchFamily="34" charset="0"/>
                </a:rPr>
                <a:t>11 Consecutive Months of YoY Sales Growth</a:t>
              </a: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10573866" y="1825660"/>
              <a:ext cx="1588169" cy="52322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solidFill>
                    <a:srgbClr val="000000"/>
                  </a:solidFill>
                  <a:latin typeface="Franklin Gothic Heavy" panose="020B0903020102020204" pitchFamily="34" charset="0"/>
                </a:rPr>
                <a:t>All New LEAF Launch</a:t>
              </a:r>
            </a:p>
          </p:txBody>
        </p:sp>
        <p:pic>
          <p:nvPicPr>
            <p:cNvPr id="70" name="Picture 69"/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91756" y="1060521"/>
              <a:ext cx="1552388" cy="745921"/>
            </a:xfrm>
            <a:prstGeom prst="rect">
              <a:avLst/>
            </a:prstGeom>
          </p:spPr>
        </p:pic>
        <p:sp>
          <p:nvSpPr>
            <p:cNvPr id="71" name="Rectangle 70"/>
            <p:cNvSpPr/>
            <p:nvPr/>
          </p:nvSpPr>
          <p:spPr>
            <a:xfrm>
              <a:off x="10784077" y="5331088"/>
              <a:ext cx="1385515" cy="830174"/>
            </a:xfrm>
            <a:prstGeom prst="rect">
              <a:avLst/>
            </a:prstGeom>
            <a:solidFill>
              <a:srgbClr val="CA163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200" b="1" dirty="0">
                  <a:solidFill>
                    <a:srgbClr val="FFFFFF"/>
                  </a:solidFill>
                </a:rPr>
                <a:t>100K</a:t>
              </a:r>
            </a:p>
          </p:txBody>
        </p:sp>
        <p:pic>
          <p:nvPicPr>
            <p:cNvPr id="72" name="Picture 71"/>
            <p:cNvPicPr>
              <a:picLocks noChangeAspect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637849" y="881591"/>
              <a:ext cx="1460202" cy="173009"/>
            </a:xfrm>
            <a:prstGeom prst="rect">
              <a:avLst/>
            </a:prstGeom>
          </p:spPr>
        </p:pic>
      </p:grpSp>
      <p:pic>
        <p:nvPicPr>
          <p:cNvPr id="74" name="Picture 73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4600" y="60204"/>
            <a:ext cx="3471558" cy="450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601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80215"/>
            <a:ext cx="10158663" cy="1066035"/>
          </a:xfrm>
        </p:spPr>
        <p:txBody>
          <a:bodyPr/>
          <a:lstStyle/>
          <a:p>
            <a:r>
              <a:rPr lang="en-US" sz="2800" b="1" dirty="0"/>
              <a:t>EV Volume Growth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783692" y="852427"/>
            <a:ext cx="10840639" cy="5261185"/>
            <a:chOff x="765524" y="1035307"/>
            <a:chExt cx="10840639" cy="5261185"/>
          </a:xfrm>
        </p:grpSpPr>
        <p:graphicFrame>
          <p:nvGraphicFramePr>
            <p:cNvPr id="5" name="Chart 4"/>
            <p:cNvGraphicFramePr/>
            <p:nvPr>
              <p:extLst/>
            </p:nvPr>
          </p:nvGraphicFramePr>
          <p:xfrm>
            <a:off x="765524" y="2313275"/>
            <a:ext cx="10660953" cy="398321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cxnSp>
          <p:nvCxnSpPr>
            <p:cNvPr id="8" name="Straight Connector 7"/>
            <p:cNvCxnSpPr/>
            <p:nvPr/>
          </p:nvCxnSpPr>
          <p:spPr>
            <a:xfrm>
              <a:off x="6911301" y="2235578"/>
              <a:ext cx="0" cy="3424051"/>
            </a:xfrm>
            <a:prstGeom prst="line">
              <a:avLst/>
            </a:prstGeom>
            <a:ln w="22225" cap="rnd">
              <a:solidFill>
                <a:schemeClr val="tx1">
                  <a:lumMod val="65000"/>
                  <a:lumOff val="3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Group 8"/>
            <p:cNvGrpSpPr/>
            <p:nvPr/>
          </p:nvGrpSpPr>
          <p:grpSpPr>
            <a:xfrm>
              <a:off x="1901629" y="4929008"/>
              <a:ext cx="1001325" cy="617860"/>
              <a:chOff x="2253752" y="4539332"/>
              <a:chExt cx="1001325" cy="617860"/>
            </a:xfrm>
          </p:grpSpPr>
          <p:sp>
            <p:nvSpPr>
              <p:cNvPr id="10" name="Pentagon 9"/>
              <p:cNvSpPr/>
              <p:nvPr/>
            </p:nvSpPr>
            <p:spPr>
              <a:xfrm rot="5400000">
                <a:off x="2466382" y="4577735"/>
                <a:ext cx="576064" cy="582850"/>
              </a:xfrm>
              <a:prstGeom prst="homePlate">
                <a:avLst>
                  <a:gd name="adj" fmla="val 34883"/>
                </a:avLst>
              </a:prstGeom>
              <a:solidFill>
                <a:schemeClr val="bg1"/>
              </a:solidFill>
              <a:ln w="9525" cap="flat"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1" name="TextBox 10"/>
              <p:cNvSpPr txBox="1"/>
              <p:nvPr/>
            </p:nvSpPr>
            <p:spPr>
              <a:xfrm>
                <a:off x="2253752" y="4539332"/>
                <a:ext cx="1001325" cy="477054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rgbClr val="000000"/>
                    </a:solidFill>
                  </a:rPr>
                  <a:t>2</a:t>
                </a:r>
              </a:p>
              <a:p>
                <a:pPr algn="ctr"/>
                <a:r>
                  <a:rPr lang="en-US" sz="700" dirty="0">
                    <a:solidFill>
                      <a:srgbClr val="000000"/>
                    </a:solidFill>
                  </a:rPr>
                  <a:t>EV Models</a:t>
                </a:r>
              </a:p>
            </p:txBody>
          </p:sp>
        </p:grpSp>
        <p:grpSp>
          <p:nvGrpSpPr>
            <p:cNvPr id="12" name="Group 11"/>
            <p:cNvGrpSpPr/>
            <p:nvPr/>
          </p:nvGrpSpPr>
          <p:grpSpPr>
            <a:xfrm>
              <a:off x="3330209" y="4589304"/>
              <a:ext cx="1001325" cy="617860"/>
              <a:chOff x="2253752" y="4539332"/>
              <a:chExt cx="1001325" cy="617860"/>
            </a:xfrm>
          </p:grpSpPr>
          <p:sp>
            <p:nvSpPr>
              <p:cNvPr id="13" name="Pentagon 12"/>
              <p:cNvSpPr/>
              <p:nvPr/>
            </p:nvSpPr>
            <p:spPr>
              <a:xfrm rot="5400000">
                <a:off x="2466382" y="4577735"/>
                <a:ext cx="576064" cy="582850"/>
              </a:xfrm>
              <a:prstGeom prst="homePlate">
                <a:avLst>
                  <a:gd name="adj" fmla="val 34883"/>
                </a:avLst>
              </a:prstGeom>
              <a:solidFill>
                <a:schemeClr val="bg1"/>
              </a:solidFill>
              <a:ln w="9525" cap="flat"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6" name="TextBox 15"/>
              <p:cNvSpPr txBox="1"/>
              <p:nvPr/>
            </p:nvSpPr>
            <p:spPr>
              <a:xfrm>
                <a:off x="2253752" y="4539332"/>
                <a:ext cx="1001325" cy="477054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rgbClr val="000000"/>
                    </a:solidFill>
                  </a:rPr>
                  <a:t>12</a:t>
                </a:r>
              </a:p>
              <a:p>
                <a:pPr algn="ctr"/>
                <a:r>
                  <a:rPr lang="en-US" sz="700" dirty="0">
                    <a:solidFill>
                      <a:srgbClr val="000000"/>
                    </a:solidFill>
                  </a:rPr>
                  <a:t>EV Models</a:t>
                </a:r>
              </a:p>
            </p:txBody>
          </p:sp>
        </p:grpSp>
        <p:grpSp>
          <p:nvGrpSpPr>
            <p:cNvPr id="17" name="Group 16"/>
            <p:cNvGrpSpPr/>
            <p:nvPr/>
          </p:nvGrpSpPr>
          <p:grpSpPr>
            <a:xfrm>
              <a:off x="10604838" y="1936805"/>
              <a:ext cx="1001325" cy="617860"/>
              <a:chOff x="2253752" y="4539332"/>
              <a:chExt cx="1001325" cy="617860"/>
            </a:xfrm>
          </p:grpSpPr>
          <p:sp>
            <p:nvSpPr>
              <p:cNvPr id="18" name="Pentagon 17"/>
              <p:cNvSpPr/>
              <p:nvPr/>
            </p:nvSpPr>
            <p:spPr>
              <a:xfrm rot="5400000">
                <a:off x="2466382" y="4577735"/>
                <a:ext cx="576064" cy="582850"/>
              </a:xfrm>
              <a:prstGeom prst="homePlate">
                <a:avLst>
                  <a:gd name="adj" fmla="val 34883"/>
                </a:avLst>
              </a:prstGeom>
              <a:solidFill>
                <a:schemeClr val="bg1"/>
              </a:solidFill>
              <a:ln w="9525" cap="flat"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19" name="TextBox 18"/>
              <p:cNvSpPr txBox="1"/>
              <p:nvPr/>
            </p:nvSpPr>
            <p:spPr>
              <a:xfrm>
                <a:off x="2253752" y="4539332"/>
                <a:ext cx="1001325" cy="477054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rgbClr val="000000"/>
                    </a:solidFill>
                  </a:rPr>
                  <a:t>37</a:t>
                </a:r>
              </a:p>
              <a:p>
                <a:pPr algn="ctr"/>
                <a:r>
                  <a:rPr lang="en-US" sz="700" dirty="0">
                    <a:solidFill>
                      <a:srgbClr val="000000"/>
                    </a:solidFill>
                  </a:rPr>
                  <a:t>EV Models</a:t>
                </a:r>
              </a:p>
            </p:txBody>
          </p:sp>
        </p:grpSp>
        <p:grpSp>
          <p:nvGrpSpPr>
            <p:cNvPr id="20" name="Group 19"/>
            <p:cNvGrpSpPr/>
            <p:nvPr/>
          </p:nvGrpSpPr>
          <p:grpSpPr>
            <a:xfrm>
              <a:off x="7001936" y="3373285"/>
              <a:ext cx="1001325" cy="617860"/>
              <a:chOff x="2253752" y="4539332"/>
              <a:chExt cx="1001325" cy="617860"/>
            </a:xfrm>
          </p:grpSpPr>
          <p:sp>
            <p:nvSpPr>
              <p:cNvPr id="21" name="Pentagon 20"/>
              <p:cNvSpPr/>
              <p:nvPr/>
            </p:nvSpPr>
            <p:spPr>
              <a:xfrm rot="5400000">
                <a:off x="2466382" y="4577735"/>
                <a:ext cx="576064" cy="582850"/>
              </a:xfrm>
              <a:prstGeom prst="homePlate">
                <a:avLst>
                  <a:gd name="adj" fmla="val 34883"/>
                </a:avLst>
              </a:prstGeom>
              <a:solidFill>
                <a:schemeClr val="bg1"/>
              </a:solidFill>
              <a:ln w="9525" cap="flat"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22" name="TextBox 21"/>
              <p:cNvSpPr txBox="1"/>
              <p:nvPr/>
            </p:nvSpPr>
            <p:spPr>
              <a:xfrm>
                <a:off x="2253752" y="4539332"/>
                <a:ext cx="1001325" cy="477054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rgbClr val="000000"/>
                    </a:solidFill>
                  </a:rPr>
                  <a:t>18</a:t>
                </a:r>
              </a:p>
              <a:p>
                <a:pPr algn="ctr"/>
                <a:r>
                  <a:rPr lang="en-US" sz="700" dirty="0">
                    <a:solidFill>
                      <a:srgbClr val="000000"/>
                    </a:solidFill>
                  </a:rPr>
                  <a:t>EV Models</a:t>
                </a:r>
              </a:p>
            </p:txBody>
          </p:sp>
        </p:grpSp>
        <p:sp>
          <p:nvSpPr>
            <p:cNvPr id="23" name="Rectangle 22"/>
            <p:cNvSpPr/>
            <p:nvPr/>
          </p:nvSpPr>
          <p:spPr>
            <a:xfrm>
              <a:off x="1078674" y="1035307"/>
              <a:ext cx="10034652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400" dirty="0">
                  <a:solidFill>
                    <a:srgbClr val="000000"/>
                  </a:solidFill>
                </a:rPr>
                <a:t>Battery EV TIV is growing – expected to reach ~380k by 2023</a:t>
              </a:r>
            </a:p>
            <a:p>
              <a:pPr algn="ctr"/>
              <a:r>
                <a:rPr lang="en-US" sz="1600" dirty="0">
                  <a:solidFill>
                    <a:srgbClr val="FFFFFF">
                      <a:lumMod val="50000"/>
                    </a:srgbClr>
                  </a:solidFill>
                </a:rPr>
                <a:t>Number of models will double between launch of B12P and 2023</a:t>
              </a:r>
            </a:p>
          </p:txBody>
        </p:sp>
      </p:grpSp>
      <p:sp>
        <p:nvSpPr>
          <p:cNvPr id="24" name="TextBox 23"/>
          <p:cNvSpPr txBox="1"/>
          <p:nvPr/>
        </p:nvSpPr>
        <p:spPr>
          <a:xfrm>
            <a:off x="-67210" y="6601721"/>
            <a:ext cx="597666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>
                <a:solidFill>
                  <a:srgbClr val="000000"/>
                </a:solidFill>
              </a:rPr>
              <a:t>Source: IHS Market Nissan US VPAC Customer Segment Forecast (Sep 2016)</a:t>
            </a: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4600" y="60204"/>
            <a:ext cx="3471558" cy="450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64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661375" y="1236372"/>
            <a:ext cx="8834907" cy="4765183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-270457"/>
            <a:ext cx="10985679" cy="1339403"/>
          </a:xfrm>
        </p:spPr>
        <p:txBody>
          <a:bodyPr/>
          <a:lstStyle/>
          <a:p>
            <a:r>
              <a:rPr lang="en-US" dirty="0"/>
              <a:t/>
            </a:r>
            <a:br>
              <a:rPr lang="en-US" dirty="0"/>
            </a:br>
            <a:r>
              <a:rPr lang="en-US" b="1" dirty="0"/>
              <a:t>“Simply </a:t>
            </a:r>
            <a:r>
              <a:rPr lang="en-US" b="1" dirty="0" smtClean="0"/>
              <a:t>Amazing” </a:t>
            </a:r>
            <a:r>
              <a:rPr lang="en-US" b="1" dirty="0"/>
              <a:t>New Nissan LEAF</a:t>
            </a:r>
            <a:br>
              <a:rPr lang="en-US" b="1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99549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270417" y="3526666"/>
            <a:ext cx="3820910" cy="311727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4194240" y="3526666"/>
            <a:ext cx="3820910" cy="311727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8129353" y="3526666"/>
            <a:ext cx="3820910" cy="311727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184484" y="2681288"/>
            <a:ext cx="3697705" cy="823912"/>
          </a:xfrm>
        </p:spPr>
        <p:txBody>
          <a:bodyPr/>
          <a:lstStyle/>
          <a:p>
            <a:pPr algn="ctr"/>
            <a:r>
              <a:rPr lang="en-US" sz="20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</a:t>
            </a:r>
            <a:endParaRPr lang="en-US" sz="2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" name="Text Placeholder 4"/>
          <p:cNvSpPr txBox="1">
            <a:spLocks/>
          </p:cNvSpPr>
          <p:nvPr/>
        </p:nvSpPr>
        <p:spPr>
          <a:xfrm>
            <a:off x="4248735" y="3123860"/>
            <a:ext cx="3697705" cy="38134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V</a:t>
            </a:r>
            <a:endParaRPr lang="en-US" sz="20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Text Placeholder 4"/>
          <p:cNvSpPr txBox="1">
            <a:spLocks/>
          </p:cNvSpPr>
          <p:nvPr/>
        </p:nvSpPr>
        <p:spPr>
          <a:xfrm>
            <a:off x="8295605" y="3123860"/>
            <a:ext cx="3697705" cy="38134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L</a:t>
            </a:r>
            <a:endParaRPr lang="en-US" sz="20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363357" y="1470649"/>
            <a:ext cx="6453079" cy="1676400"/>
            <a:chOff x="703262" y="1222376"/>
            <a:chExt cx="10079038" cy="1676400"/>
          </a:xfrm>
        </p:grpSpPr>
        <p:sp>
          <p:nvSpPr>
            <p:cNvPr id="13" name="Text Box 2"/>
            <p:cNvSpPr txBox="1">
              <a:spLocks noChangeArrowheads="1"/>
            </p:cNvSpPr>
            <p:nvPr/>
          </p:nvSpPr>
          <p:spPr bwMode="auto">
            <a:xfrm>
              <a:off x="703262" y="1484314"/>
              <a:ext cx="10079038" cy="2698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in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EEECE1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C3002F"/>
                </a:buClr>
                <a:buSzPct val="90000"/>
              </a:pPr>
              <a:r>
                <a:rPr lang="en-US" altLang="en-US" sz="1400" b="1" dirty="0">
                  <a:solidFill>
                    <a:prstClr val="black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Available ProPILOT Assist combines intelligent cruise control with steering assistance</a:t>
              </a:r>
            </a:p>
          </p:txBody>
        </p:sp>
        <p:sp>
          <p:nvSpPr>
            <p:cNvPr id="14" name="Text Box 3"/>
            <p:cNvSpPr txBox="1">
              <a:spLocks noChangeArrowheads="1"/>
            </p:cNvSpPr>
            <p:nvPr/>
          </p:nvSpPr>
          <p:spPr bwMode="auto">
            <a:xfrm>
              <a:off x="703262" y="1222376"/>
              <a:ext cx="10079038" cy="2524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in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EEECE1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C3002F"/>
                </a:buClr>
                <a:buSzPct val="90000"/>
              </a:pPr>
              <a:r>
                <a:rPr lang="en-US" altLang="en-US" sz="1400" b="1" dirty="0">
                  <a:solidFill>
                    <a:prstClr val="black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Automatic Emergency Braking standard</a:t>
              </a:r>
              <a:endParaRPr lang="en-US" altLang="en-US" sz="2000" b="1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5" name="Text Box 4"/>
            <p:cNvSpPr txBox="1">
              <a:spLocks noChangeArrowheads="1"/>
            </p:cNvSpPr>
            <p:nvPr/>
          </p:nvSpPr>
          <p:spPr bwMode="auto">
            <a:xfrm>
              <a:off x="703262" y="2590801"/>
              <a:ext cx="10079038" cy="3079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in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EEECE1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C3002F"/>
                </a:buClr>
                <a:buSzPct val="90000"/>
              </a:pPr>
              <a:r>
                <a:rPr lang="en-US" altLang="en-US" sz="1400" b="1" dirty="0">
                  <a:solidFill>
                    <a:prstClr val="black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Standard 8 year/100K mile battery warranty</a:t>
              </a:r>
            </a:p>
          </p:txBody>
        </p:sp>
        <p:sp>
          <p:nvSpPr>
            <p:cNvPr id="16" name="Text Box 5"/>
            <p:cNvSpPr txBox="1">
              <a:spLocks noChangeArrowheads="1"/>
            </p:cNvSpPr>
            <p:nvPr/>
          </p:nvSpPr>
          <p:spPr bwMode="auto">
            <a:xfrm>
              <a:off x="703262" y="2325689"/>
              <a:ext cx="10079038" cy="3921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in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EEECE1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C3002F"/>
                </a:buClr>
                <a:buSzPct val="90000"/>
              </a:pPr>
              <a:r>
                <a:rPr lang="en-US" altLang="en-US" sz="1400" b="1" dirty="0">
                  <a:solidFill>
                    <a:prstClr val="black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Lower maintenance costs than traditional internal combustion vehicles</a:t>
              </a:r>
              <a:endParaRPr lang="en-US" altLang="en-US" sz="2000" b="1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7" name="Text Box 6"/>
            <p:cNvSpPr txBox="1">
              <a:spLocks noChangeArrowheads="1"/>
            </p:cNvSpPr>
            <p:nvPr/>
          </p:nvSpPr>
          <p:spPr bwMode="auto">
            <a:xfrm>
              <a:off x="703262" y="2060576"/>
              <a:ext cx="10079038" cy="2555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in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EEECE1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C3002F"/>
                </a:buClr>
                <a:buSzPct val="90000"/>
              </a:pPr>
              <a:r>
                <a:rPr lang="en-US" altLang="en-US" sz="1400" b="1" dirty="0">
                  <a:solidFill>
                    <a:prstClr val="black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37% more HP and 26% more torque than previous model</a:t>
              </a:r>
              <a:endParaRPr lang="en-US" altLang="en-US" sz="2000" b="1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8" name="Text Box 7"/>
            <p:cNvSpPr txBox="1">
              <a:spLocks noChangeArrowheads="1"/>
            </p:cNvSpPr>
            <p:nvPr/>
          </p:nvSpPr>
          <p:spPr bwMode="auto">
            <a:xfrm>
              <a:off x="703262" y="1765301"/>
              <a:ext cx="10079038" cy="284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in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EEECE1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C3002F"/>
                </a:buClr>
                <a:buSzPct val="90000"/>
              </a:pPr>
              <a:r>
                <a:rPr lang="en-US" altLang="en-US" sz="1400" b="1" dirty="0">
                  <a:solidFill>
                    <a:prstClr val="black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6.6kW onboard charger standard</a:t>
              </a:r>
              <a:endParaRPr lang="en-US" altLang="en-US" sz="2000" b="1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22" name="Text Box 10"/>
          <p:cNvSpPr txBox="1">
            <a:spLocks noChangeArrowheads="1"/>
          </p:cNvSpPr>
          <p:nvPr/>
        </p:nvSpPr>
        <p:spPr bwMode="auto">
          <a:xfrm>
            <a:off x="1209675" y="66182"/>
            <a:ext cx="5763305" cy="10288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EEECE1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000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The All-New</a:t>
            </a:r>
            <a:endParaRPr lang="en-US" altLang="en-US" sz="2000" b="1" dirty="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800" b="1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2018 Nissan LEAF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000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World’s Best-Selling Electric Car</a:t>
            </a:r>
            <a:endParaRPr lang="en-US" altLang="en-US" dirty="0">
              <a:solidFill>
                <a:prstClr val="black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035" name="Picture 11" descr="PRINT_Red_PRIMARY_ITE_NOBLEED_CMYK_4C-0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085850" cy="1344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EEECE1"/>
                  </a:outerShdw>
                </a:effectLst>
              </a14:hiddenEffects>
            </a:ext>
          </a:extLst>
        </p:spPr>
      </p:pic>
      <p:grpSp>
        <p:nvGrpSpPr>
          <p:cNvPr id="25" name="Group 24"/>
          <p:cNvGrpSpPr/>
          <p:nvPr/>
        </p:nvGrpSpPr>
        <p:grpSpPr>
          <a:xfrm>
            <a:off x="58681" y="1558306"/>
            <a:ext cx="260187" cy="1567138"/>
            <a:chOff x="354954" y="1459411"/>
            <a:chExt cx="197495" cy="1596034"/>
          </a:xfrm>
        </p:grpSpPr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4954" y="1459411"/>
              <a:ext cx="197495" cy="226139"/>
            </a:xfrm>
            <a:prstGeom prst="rect">
              <a:avLst/>
            </a:prstGeom>
            <a:solidFill>
              <a:schemeClr val="bg2"/>
            </a:solidFill>
          </p:spPr>
        </p:pic>
        <p:pic>
          <p:nvPicPr>
            <p:cNvPr id="28" name="Picture 2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4954" y="1702910"/>
              <a:ext cx="197495" cy="226139"/>
            </a:xfrm>
            <a:prstGeom prst="rect">
              <a:avLst/>
            </a:prstGeom>
            <a:solidFill>
              <a:schemeClr val="bg2"/>
            </a:solidFill>
          </p:spPr>
        </p:pic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4954" y="1984509"/>
              <a:ext cx="197495" cy="226139"/>
            </a:xfrm>
            <a:prstGeom prst="rect">
              <a:avLst/>
            </a:prstGeom>
            <a:solidFill>
              <a:schemeClr val="bg2"/>
            </a:solidFill>
          </p:spPr>
        </p:pic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4954" y="2266108"/>
              <a:ext cx="197495" cy="226139"/>
            </a:xfrm>
            <a:prstGeom prst="rect">
              <a:avLst/>
            </a:prstGeom>
            <a:solidFill>
              <a:schemeClr val="bg2"/>
            </a:solidFill>
          </p:spPr>
        </p:pic>
        <p:pic>
          <p:nvPicPr>
            <p:cNvPr id="31" name="Picture 3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4954" y="2547707"/>
              <a:ext cx="197495" cy="226139"/>
            </a:xfrm>
            <a:prstGeom prst="rect">
              <a:avLst/>
            </a:prstGeom>
            <a:solidFill>
              <a:schemeClr val="bg2"/>
            </a:solidFill>
          </p:spPr>
        </p:pic>
        <p:pic>
          <p:nvPicPr>
            <p:cNvPr id="32" name="Picture 3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4954" y="2829306"/>
              <a:ext cx="197495" cy="226139"/>
            </a:xfrm>
            <a:prstGeom prst="rect">
              <a:avLst/>
            </a:prstGeom>
            <a:solidFill>
              <a:schemeClr val="bg2"/>
            </a:solidFill>
          </p:spPr>
        </p:pic>
      </p:grpSp>
      <p:sp>
        <p:nvSpPr>
          <p:cNvPr id="2" name="TextBox 1"/>
          <p:cNvSpPr txBox="1"/>
          <p:nvPr/>
        </p:nvSpPr>
        <p:spPr>
          <a:xfrm>
            <a:off x="184484" y="6858000"/>
            <a:ext cx="3697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70417" y="3723001"/>
            <a:ext cx="3820910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q"/>
            </a:pPr>
            <a:r>
              <a:rPr lang="en-US" sz="1400" b="1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Redesigned exterior and interior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q"/>
            </a:pPr>
            <a:r>
              <a:rPr lang="en-US" sz="1400" b="1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110 kW electric motor (148 </a:t>
            </a:r>
            <a:r>
              <a:rPr lang="en-US" sz="1400" b="1" dirty="0" err="1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hp</a:t>
            </a:r>
            <a:r>
              <a:rPr lang="en-US" sz="1400" b="1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/236 </a:t>
            </a:r>
            <a:r>
              <a:rPr lang="en-US" sz="1400" b="1" dirty="0" err="1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lb-ft</a:t>
            </a:r>
            <a:r>
              <a:rPr lang="en-US" sz="1400" b="1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q"/>
            </a:pPr>
            <a:r>
              <a:rPr lang="en-US" sz="1400" b="1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40 kWh Battery with 150 Mile Range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q"/>
            </a:pPr>
            <a:r>
              <a:rPr lang="en-US" sz="1400" b="1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e-Pedal Mode with Slope Stop</a:t>
            </a:r>
            <a:endParaRPr lang="en-US" sz="1400" dirty="0">
              <a:solidFill>
                <a:prstClr val="black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q"/>
            </a:pPr>
            <a:r>
              <a:rPr lang="en-US" sz="1400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6.6 kW onboard charger 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q"/>
            </a:pPr>
            <a:r>
              <a:rPr lang="en-US" sz="1400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Automatic Emergency Braking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q"/>
            </a:pPr>
            <a:r>
              <a:rPr lang="en-US" sz="1400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Automatic On/Off Headlights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q"/>
            </a:pPr>
            <a:r>
              <a:rPr lang="en-US" sz="1400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Nissan Intelligent Key® with Push Button Start 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q"/>
            </a:pPr>
            <a:r>
              <a:rPr lang="en-US" sz="1400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Bluetooth® Hands-free Phone &amp; Audio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q"/>
            </a:pPr>
            <a:endParaRPr lang="en-US" sz="1400" dirty="0">
              <a:solidFill>
                <a:prstClr val="black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Clr>
                <a:srgbClr val="C00000"/>
              </a:buClr>
            </a:pPr>
            <a:endParaRPr lang="en-US" sz="1400" dirty="0">
              <a:solidFill>
                <a:prstClr val="black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q"/>
            </a:pPr>
            <a:r>
              <a:rPr lang="en-US" sz="1400" b="1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MSRP Starting at $29,990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248735" y="3723001"/>
            <a:ext cx="3805382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C00000"/>
              </a:buClr>
            </a:pPr>
            <a:r>
              <a:rPr lang="en-US" sz="1400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 Content Plus: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q"/>
            </a:pPr>
            <a:r>
              <a:rPr lang="en-US" sz="1400" b="1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Intelligent Cruise Control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q"/>
            </a:pPr>
            <a:r>
              <a:rPr lang="en-US" sz="1400" b="1" dirty="0" err="1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NissanConnect</a:t>
            </a:r>
            <a:r>
              <a:rPr lang="en-US" sz="1400" b="1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℠ with Navigation featuring Apple </a:t>
            </a:r>
            <a:r>
              <a:rPr lang="en-US" sz="1400" b="1" dirty="0" err="1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CarPlay</a:t>
            </a:r>
            <a:r>
              <a:rPr lang="en-US" sz="1400" b="1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™ and Android Auto™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q"/>
            </a:pPr>
            <a:r>
              <a:rPr lang="en-US" sz="1400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Quick Charge Port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q"/>
            </a:pPr>
            <a:r>
              <a:rPr lang="en-US" sz="1400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Fog Lights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q"/>
            </a:pPr>
            <a:r>
              <a:rPr lang="en-US" sz="1400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17" Alloy Wheels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q"/>
            </a:pPr>
            <a:r>
              <a:rPr lang="en-US" sz="1400" b="1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Optional Technology Package includes ProPILOT Assist, Blind Spot Warning, Rear Cross Traffic Alert and High Beam Assist</a:t>
            </a:r>
          </a:p>
          <a:p>
            <a:pPr>
              <a:buClr>
                <a:srgbClr val="C00000"/>
              </a:buClr>
            </a:pPr>
            <a:endParaRPr lang="en-US" sz="1400" dirty="0">
              <a:solidFill>
                <a:prstClr val="black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q"/>
            </a:pPr>
            <a:r>
              <a:rPr lang="en-US" sz="1400" b="1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MSRP Starting at $32,490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295605" y="3749932"/>
            <a:ext cx="3329968" cy="26237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C00000"/>
              </a:buClr>
            </a:pPr>
            <a:r>
              <a:rPr lang="en-US" sz="1400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V Content Plus: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q"/>
            </a:pPr>
            <a:r>
              <a:rPr lang="en-US" sz="1400" b="1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Blind Spot Warning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q"/>
            </a:pPr>
            <a:r>
              <a:rPr lang="en-US" sz="1400" b="1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Rear Cross Traffic Alert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q"/>
            </a:pPr>
            <a:r>
              <a:rPr lang="en-US" sz="1400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Heated Front Seats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q"/>
            </a:pPr>
            <a:r>
              <a:rPr lang="en-US" sz="1400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Intelligent Around View Monitor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q"/>
            </a:pPr>
            <a:r>
              <a:rPr lang="en-US" sz="1400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Leather Appointed Seating Surfaces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q"/>
            </a:pPr>
            <a:r>
              <a:rPr lang="en-US" sz="1400" b="1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Optional Technology Package includes ProPILOT Assist &amp; High Beam Assist</a:t>
            </a:r>
          </a:p>
          <a:p>
            <a:pPr marL="285750" indent="-285750">
              <a:lnSpc>
                <a:spcPct val="75000"/>
              </a:lnSpc>
              <a:buClr>
                <a:srgbClr val="C00000"/>
              </a:buClr>
              <a:buFont typeface="Wingdings" panose="05000000000000000000" pitchFamily="2" charset="2"/>
              <a:buChar char="q"/>
            </a:pPr>
            <a:endParaRPr lang="en-US" sz="1400" dirty="0">
              <a:solidFill>
                <a:prstClr val="black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lnSpc>
                <a:spcPct val="75000"/>
              </a:lnSpc>
              <a:buClr>
                <a:srgbClr val="C00000"/>
              </a:buClr>
              <a:buFont typeface="Wingdings" panose="05000000000000000000" pitchFamily="2" charset="2"/>
              <a:buChar char="q"/>
            </a:pPr>
            <a:endParaRPr lang="en-US" sz="1400" dirty="0">
              <a:solidFill>
                <a:prstClr val="black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lnSpc>
                <a:spcPct val="75000"/>
              </a:lnSpc>
              <a:buClr>
                <a:srgbClr val="C00000"/>
              </a:buClr>
            </a:pPr>
            <a:endParaRPr lang="en-US" sz="1400" dirty="0">
              <a:solidFill>
                <a:prstClr val="black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lnSpc>
                <a:spcPct val="75000"/>
              </a:lnSpc>
              <a:buClr>
                <a:srgbClr val="C00000"/>
              </a:buClr>
            </a:pPr>
            <a:endParaRPr lang="en-US" sz="1400" dirty="0">
              <a:solidFill>
                <a:prstClr val="black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lnSpc>
                <a:spcPct val="75000"/>
              </a:lnSpc>
              <a:buClr>
                <a:srgbClr val="C00000"/>
              </a:buClr>
              <a:buFont typeface="Wingdings" panose="05000000000000000000" pitchFamily="2" charset="2"/>
              <a:buChar char="q"/>
            </a:pPr>
            <a:r>
              <a:rPr lang="en-US" sz="1400" b="1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MSRP Starting at $36,200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8211525" y="6615684"/>
            <a:ext cx="40642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>
                <a:solidFill>
                  <a:prstClr val="black"/>
                </a:solidFill>
              </a:rPr>
              <a:t>Note: Features in </a:t>
            </a:r>
            <a:r>
              <a:rPr lang="en-US" sz="1400" b="1" dirty="0">
                <a:solidFill>
                  <a:prstClr val="black"/>
                </a:solidFill>
              </a:rPr>
              <a:t>bold</a:t>
            </a:r>
            <a:r>
              <a:rPr lang="en-US" sz="1400" dirty="0">
                <a:solidFill>
                  <a:prstClr val="black"/>
                </a:solidFill>
              </a:rPr>
              <a:t> are new to the LEAF for 2018.</a:t>
            </a: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2585" y="-370297"/>
            <a:ext cx="3260725" cy="1090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  <p:pic>
        <p:nvPicPr>
          <p:cNvPr id="35" name="Picture 2" descr="http://pictures.dealer.com/s/southsidenissantc/1464/096d12be6c486c43ce3e87a99c8bad6cx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9284" y="364817"/>
            <a:ext cx="3814026" cy="278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817991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E607773-F897-4754-8F11-79A4F8DBED64}" type="slidenum">
              <a:rPr lang="en-US" smtClean="0">
                <a:solidFill>
                  <a:prstClr val="white"/>
                </a:solidFill>
              </a:rPr>
              <a:pPr/>
              <a:t>7</a:t>
            </a:fld>
            <a:endParaRPr lang="en-US" dirty="0">
              <a:solidFill>
                <a:prstClr val="white"/>
              </a:solidFill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/>
          </p:nvPr>
        </p:nvGraphicFramePr>
        <p:xfrm>
          <a:off x="0" y="771493"/>
          <a:ext cx="12192000" cy="5581868"/>
        </p:xfrm>
        <a:graphic>
          <a:graphicData uri="http://schemas.openxmlformats.org/drawingml/2006/table">
            <a:tbl>
              <a:tblPr firstRow="1" bandRow="1"/>
              <a:tblGrid>
                <a:gridCol w="54026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73931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91242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453608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400" dirty="0" smtClean="0">
                          <a:solidFill>
                            <a:sysClr val="windowText" lastClr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Key Messages</a:t>
                      </a:r>
                      <a:endParaRPr lang="en-US" sz="1400" dirty="0">
                        <a:solidFill>
                          <a:sysClr val="windowText" lastClr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endParaRPr lang="en-US" sz="1400" dirty="0">
                        <a:solidFill>
                          <a:sysClr val="windowText" lastClr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400" dirty="0" smtClean="0">
                          <a:solidFill>
                            <a:sysClr val="windowText" lastClr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upporting Points</a:t>
                      </a:r>
                      <a:endParaRPr lang="en-US" sz="1400" dirty="0">
                        <a:solidFill>
                          <a:sysClr val="windowText" lastClr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58337">
                <a:tc>
                  <a:txBody>
                    <a:bodyPr/>
                    <a:lstStyle/>
                    <a:p>
                      <a:pPr algn="ctr"/>
                      <a:r>
                        <a:rPr lang="en-US" sz="3600" b="1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lang="en-US" sz="3600" b="1" dirty="0">
                        <a:solidFill>
                          <a:schemeClr val="bg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400" b="1" dirty="0" smtClean="0">
                          <a:solidFill>
                            <a:srgbClr val="435B75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onger Range,</a:t>
                      </a:r>
                      <a:r>
                        <a:rPr lang="en-US" sz="1400" b="1" baseline="0" dirty="0" smtClean="0">
                          <a:solidFill>
                            <a:srgbClr val="435B75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Lower Price</a:t>
                      </a:r>
                      <a:endParaRPr lang="en-US" sz="1400" b="1" dirty="0">
                        <a:solidFill>
                          <a:srgbClr val="435B75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400" b="1" kern="1200" baseline="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0mi range at a lower MSRP</a:t>
                      </a:r>
                      <a:endParaRPr lang="en-US" sz="1400" b="0" kern="1200" baseline="0" dirty="0" smtClean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  <a:p>
                      <a:pPr marL="227013" indent="-227013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0% range increase from a larger capacity 40kWh battery (150mi vs. 107mi with 30 kWh battery)</a:t>
                      </a:r>
                    </a:p>
                    <a:p>
                      <a:pPr marL="227013" indent="-227013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tarting at $29,990 MSRP  ($690 lower vs. MY17 $30,680)</a:t>
                      </a:r>
                    </a:p>
                  </a:txBody>
                  <a:tcPr marL="1828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5833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3600" b="1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</a:t>
                      </a:r>
                      <a:endParaRPr lang="en-US" sz="3600" b="1" dirty="0">
                        <a:solidFill>
                          <a:schemeClr val="bg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kern="1200" dirty="0" smtClean="0">
                          <a:solidFill>
                            <a:srgbClr val="435B75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ll-New </a:t>
                      </a:r>
                    </a:p>
                    <a:p>
                      <a:pPr algn="l"/>
                      <a:r>
                        <a:rPr lang="en-US" sz="1400" b="1" kern="1200" dirty="0" smtClean="0">
                          <a:solidFill>
                            <a:srgbClr val="435B75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esign</a:t>
                      </a:r>
                      <a:endParaRPr lang="en-US" sz="1400" b="1" kern="1200" dirty="0">
                        <a:solidFill>
                          <a:srgbClr val="435B75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400" b="1" kern="1200" baseline="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ll new exterior and interior styling reflecting Nissan design language</a:t>
                      </a:r>
                    </a:p>
                    <a:p>
                      <a:pPr marL="227013" marR="0" lvl="0" indent="-2270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xterior: Nissan V-motion grille, boomerang tail lamps, and floating roof</a:t>
                      </a:r>
                    </a:p>
                    <a:p>
                      <a:pPr marL="227013" marR="0" lvl="0" indent="-2270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terior: Nissan Gliding Wing form instrument panel, clean and modern design</a:t>
                      </a:r>
                    </a:p>
                    <a:p>
                      <a:pPr marL="227013" marR="0" lvl="0" indent="-2270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mproved aerodynamics improves range efficiency and keeps the car stable in crosswinds</a:t>
                      </a:r>
                    </a:p>
                  </a:txBody>
                  <a:tcPr marL="1828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15775">
                <a:tc>
                  <a:txBody>
                    <a:bodyPr/>
                    <a:lstStyle/>
                    <a:p>
                      <a:pPr algn="ctr"/>
                      <a:r>
                        <a:rPr lang="en-US" sz="3600" b="1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</a:t>
                      </a:r>
                      <a:endParaRPr lang="en-US" sz="3600" b="1" dirty="0">
                        <a:solidFill>
                          <a:schemeClr val="bg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400" b="1" kern="1200" dirty="0" smtClean="0">
                          <a:solidFill>
                            <a:srgbClr val="435B75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telligent </a:t>
                      </a:r>
                    </a:p>
                    <a:p>
                      <a:pPr algn="l"/>
                      <a:r>
                        <a:rPr lang="en-US" sz="1400" b="1" kern="1200" dirty="0" smtClean="0">
                          <a:solidFill>
                            <a:srgbClr val="435B75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ower</a:t>
                      </a:r>
                      <a:endParaRPr lang="en-US" sz="1400" b="1" kern="1200" dirty="0">
                        <a:solidFill>
                          <a:srgbClr val="435B75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400" b="1" kern="120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tronger acceleration from a 110</a:t>
                      </a:r>
                      <a:r>
                        <a:rPr lang="en-US" sz="1400" b="1" kern="1200" baseline="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kW motor (vs. 80 kW)</a:t>
                      </a:r>
                      <a:endParaRPr lang="en-US" sz="1400" b="1" kern="1200" dirty="0" smtClean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  <a:p>
                      <a:pPr marL="227013" indent="-227013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7% more horsepower (147 vs. 107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hp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), 26% more torque (236 vs. 187 </a:t>
                      </a:r>
                      <a:r>
                        <a:rPr lang="en-US" sz="1100" b="0" kern="1200" baseline="0" dirty="0" err="1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bs-ft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)</a:t>
                      </a:r>
                    </a:p>
                    <a:p>
                      <a:pPr marL="227013" indent="-227013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Responsive acceleration from the all new e-powertrain</a:t>
                      </a:r>
                    </a:p>
                  </a:txBody>
                  <a:tcPr marL="1828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480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3600" b="1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</a:t>
                      </a:r>
                      <a:endParaRPr lang="en-US" sz="3600" b="1" dirty="0">
                        <a:solidFill>
                          <a:schemeClr val="bg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kern="1200" dirty="0" smtClean="0">
                          <a:solidFill>
                            <a:srgbClr val="435B75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telligent </a:t>
                      </a:r>
                      <a:r>
                        <a:rPr lang="en-US" sz="1400" b="1" kern="1200" baseline="0" dirty="0" smtClean="0">
                          <a:solidFill>
                            <a:srgbClr val="435B75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riving</a:t>
                      </a:r>
                      <a:endParaRPr lang="en-US" sz="1400" b="1" kern="1200" dirty="0">
                        <a:solidFill>
                          <a:srgbClr val="435B75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roPILOT™ Assist makes highway driving easier and less stressful</a:t>
                      </a:r>
                      <a:endParaRPr lang="en-US" sz="1400" b="1" kern="1200" baseline="0" dirty="0" smtClean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  <a:p>
                      <a:pPr marL="227013" marR="0" indent="-2270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Follows the car in front of you and maintains a safe distance while keeping vehicle centered in the lane </a:t>
                      </a:r>
                    </a:p>
                    <a:p>
                      <a:pPr marL="227013" marR="0" indent="-2270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 stop &amp; go traffic, it can come to a complete stop and resume without intervention from the driver </a:t>
                      </a:r>
                    </a:p>
                  </a:txBody>
                  <a:tcPr marL="1828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22901">
                <a:tc>
                  <a:txBody>
                    <a:bodyPr/>
                    <a:lstStyle/>
                    <a:p>
                      <a:pPr algn="ctr"/>
                      <a:r>
                        <a:rPr lang="en-US" sz="3600" b="1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</a:t>
                      </a:r>
                      <a:endParaRPr lang="en-US" sz="3600" b="1" dirty="0">
                        <a:solidFill>
                          <a:schemeClr val="bg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 smtClean="0">
                          <a:solidFill>
                            <a:srgbClr val="435B75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telligent Integration</a:t>
                      </a:r>
                      <a:endParaRPr lang="en-US" sz="1400" b="1" dirty="0">
                        <a:solidFill>
                          <a:srgbClr val="435B75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issanConnect Services, Apple CarPlay &amp; Android Auto</a:t>
                      </a:r>
                    </a:p>
                    <a:p>
                      <a:pPr marL="227013" indent="-227013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issanConnect Services includes Remote Lock/unlock, Speed Alert, Automatic Collision Notification, Emergency Call, and more</a:t>
                      </a:r>
                    </a:p>
                    <a:p>
                      <a:pPr marL="227013" marR="0" indent="-2270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tandard Apple CarPlay, Android Auto on SV &amp; SL</a:t>
                      </a:r>
                    </a:p>
                    <a:p>
                      <a:pPr marL="227013" indent="-227013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ew NissanConnect EV smartphone and wearable apps lets you control the a/c, begin charging, and plan your route from your phone</a:t>
                      </a:r>
                    </a:p>
                  </a:txBody>
                  <a:tcPr marL="1828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22901">
                <a:tc>
                  <a:txBody>
                    <a:bodyPr/>
                    <a:lstStyle/>
                    <a:p>
                      <a:pPr algn="ctr"/>
                      <a:r>
                        <a:rPr lang="en-US" sz="3600" b="1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6</a:t>
                      </a:r>
                      <a:endParaRPr lang="en-US" sz="3600" b="1" dirty="0">
                        <a:solidFill>
                          <a:schemeClr val="bg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kern="1200" dirty="0" smtClean="0">
                          <a:solidFill>
                            <a:srgbClr val="435B75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ne-Pedal</a:t>
                      </a:r>
                      <a:r>
                        <a:rPr lang="en-US" sz="1400" b="1" kern="1200" baseline="0" dirty="0" smtClean="0">
                          <a:solidFill>
                            <a:srgbClr val="435B75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</a:p>
                    <a:p>
                      <a:pPr algn="l"/>
                      <a:r>
                        <a:rPr lang="en-US" sz="1400" b="1" kern="1200" baseline="0" dirty="0" smtClean="0">
                          <a:solidFill>
                            <a:srgbClr val="435B75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riving</a:t>
                      </a:r>
                      <a:endParaRPr lang="en-US" sz="1400" b="1" kern="1200" dirty="0">
                        <a:solidFill>
                          <a:srgbClr val="435B75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1400" b="1" kern="1200" baseline="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-Pedal mode lets you drive with one pedal</a:t>
                      </a:r>
                    </a:p>
                    <a:p>
                      <a:pPr marL="227013" marR="0" lvl="0" indent="-2270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-Pedal mode reduces fatigue, especially in traffic, by utilizing regenerative braking to minimize the need to switch between accelerator and brake pedals</a:t>
                      </a:r>
                    </a:p>
                    <a:p>
                      <a:pPr marL="227013" marR="0" lvl="0" indent="-2270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issan unique capability is that LEAF can come to a complete stop (and hold) without touching the brake pedal even on steep hills</a:t>
                      </a:r>
                    </a:p>
                    <a:p>
                      <a:pPr marL="227013" marR="0" lvl="0" indent="-2270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Brake pedal can be used at any time for conventional braking</a:t>
                      </a:r>
                    </a:p>
                  </a:txBody>
                  <a:tcPr marL="1828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670467">
                <a:tc>
                  <a:txBody>
                    <a:bodyPr/>
                    <a:lstStyle/>
                    <a:p>
                      <a:pPr algn="ctr"/>
                      <a:r>
                        <a:rPr lang="en-US" sz="3600" b="1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7</a:t>
                      </a:r>
                      <a:endParaRPr lang="en-US" sz="3600" b="1" dirty="0">
                        <a:solidFill>
                          <a:schemeClr val="bg1">
                            <a:lumMod val="50000"/>
                          </a:schemeClr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 smtClean="0">
                          <a:solidFill>
                            <a:srgbClr val="435B75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afety Technology</a:t>
                      </a:r>
                      <a:endParaRPr lang="en-US" sz="1400" b="1" dirty="0">
                        <a:solidFill>
                          <a:srgbClr val="435B75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tandard Automatic Emergency Braking and Available </a:t>
                      </a:r>
                      <a:r>
                        <a:rPr kumimoji="0" lang="en-US" sz="12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Blindspot</a:t>
                      </a:r>
                      <a:r>
                        <a:rPr kumimoji="0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Warning with Rear Cross Traffic Alert</a:t>
                      </a:r>
                    </a:p>
                    <a:p>
                      <a:pPr marL="227013" indent="-227013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EB uses radar to monitor the car ahead, and can apply the brakes to help avoid a collision or reduce the speed of impact</a:t>
                      </a:r>
                    </a:p>
                    <a:p>
                      <a:pPr marL="227013" indent="-227013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BSW: An indicator appears in the driver’s or passenger’s side door when a vehicle is detected in the blind spot area</a:t>
                      </a:r>
                    </a:p>
                    <a:p>
                      <a:pPr marL="227013" indent="-227013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RCTA: when backing out of a parking space, RCTA can warn the driver of vehicles that are approaching from the side</a:t>
                      </a:r>
                    </a:p>
                  </a:txBody>
                  <a:tcPr marL="1828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2" name="Title 1"/>
          <p:cNvSpPr txBox="1">
            <a:spLocks/>
          </p:cNvSpPr>
          <p:nvPr/>
        </p:nvSpPr>
        <p:spPr>
          <a:xfrm>
            <a:off x="25400" y="-50482"/>
            <a:ext cx="8839200" cy="79216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kumimoji="1" lang="en-US" sz="3600" b="1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The All-New 2018 Nissan LEAF</a:t>
            </a:r>
            <a:endParaRPr kumimoji="1" lang="en-US" sz="3600" b="1" dirty="0">
              <a:solidFill>
                <a:prstClr val="black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86242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6" descr="http://68.media.tumblr.com/5d7c070d74bf4f4795e66eb1356ec929/tumblr_inline_o5dsvyw3qA1tyocqo_1280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498" b="19996"/>
          <a:stretch/>
        </p:blipFill>
        <p:spPr bwMode="auto">
          <a:xfrm>
            <a:off x="8555020" y="1505456"/>
            <a:ext cx="1824724" cy="800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Table 6"/>
          <p:cNvGraphicFramePr>
            <a:graphicFrameLocks noGrp="1"/>
          </p:cNvGraphicFramePr>
          <p:nvPr>
            <p:extLst/>
          </p:nvPr>
        </p:nvGraphicFramePr>
        <p:xfrm>
          <a:off x="2" y="1258526"/>
          <a:ext cx="12191998" cy="548132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45769">
                  <a:extLst>
                    <a:ext uri="{9D8B030D-6E8A-4147-A177-3AD203B41FA5}">
                      <a16:colId xmlns:a16="http://schemas.microsoft.com/office/drawing/2014/main" xmlns="" val="11628331"/>
                    </a:ext>
                  </a:extLst>
                </a:gridCol>
                <a:gridCol w="140062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84912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84912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849120">
                  <a:extLst>
                    <a:ext uri="{9D8B030D-6E8A-4147-A177-3AD203B41FA5}">
                      <a16:colId xmlns:a16="http://schemas.microsoft.com/office/drawing/2014/main" xmlns="" val="3987176898"/>
                    </a:ext>
                  </a:extLst>
                </a:gridCol>
                <a:gridCol w="1849120">
                  <a:extLst>
                    <a:ext uri="{9D8B030D-6E8A-4147-A177-3AD203B41FA5}">
                      <a16:colId xmlns:a16="http://schemas.microsoft.com/office/drawing/2014/main" xmlns="" val="2866986594"/>
                    </a:ext>
                  </a:extLst>
                </a:gridCol>
                <a:gridCol w="1849120">
                  <a:extLst>
                    <a:ext uri="{9D8B030D-6E8A-4147-A177-3AD203B41FA5}">
                      <a16:colId xmlns:a16="http://schemas.microsoft.com/office/drawing/2014/main" xmlns="" val="1373153892"/>
                    </a:ext>
                  </a:extLst>
                </a:gridCol>
              </a:tblGrid>
              <a:tr h="939028">
                <a:tc>
                  <a:txBody>
                    <a:bodyPr/>
                    <a:lstStyle/>
                    <a:p>
                      <a:pPr algn="ctr"/>
                      <a:endParaRPr lang="en-US" sz="900" b="1" dirty="0">
                        <a:solidFill>
                          <a:srgbClr val="E31937"/>
                        </a:solidFill>
                        <a:latin typeface="Verdana Pro Cond SemiBold" panose="020B0706030504040204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tx1"/>
                          </a:solidFill>
                          <a:latin typeface="Verdana Pro Cond SemiBold" panose="020B0706030504040204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2018 Nissan</a:t>
                      </a:r>
                      <a:r>
                        <a:rPr lang="en-US" sz="1200" b="1" baseline="0" dirty="0" smtClean="0">
                          <a:solidFill>
                            <a:schemeClr val="tx1"/>
                          </a:solidFill>
                          <a:latin typeface="Verdana Pro Cond SemiBold" panose="020B0706030504040204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1200" b="1" dirty="0" smtClean="0">
                          <a:solidFill>
                            <a:schemeClr val="tx1"/>
                          </a:solidFill>
                          <a:latin typeface="Verdana Pro Cond SemiBold" panose="020B0706030504040204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LEAF</a:t>
                      </a:r>
                      <a:endParaRPr lang="en-US" sz="1200" b="1" dirty="0">
                        <a:solidFill>
                          <a:schemeClr val="tx1"/>
                        </a:solidFill>
                        <a:latin typeface="Verdana Pro Cond SemiBold" panose="020B0706030504040204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 Pro Cond SemiBold" panose="020B0706030504040204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2017 Chevrolet Bol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 Pro Cond SemiBold" panose="020B0706030504040204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2017 Ford Focus EV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 Pro Cond SemiBold" panose="020B0706030504040204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2017 Hyundai Ioniq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 Pro Cond SemiBold" panose="020B0706030504040204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2017 Volkswagen e-Golf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 Pro Cond SemiBold" panose="020B0706030504040204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2018 Tesla Model 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25586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1" lang="en-US" sz="9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Verdana Pro Cond SemiBold" panose="020B0706030504040204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Starting MSRP</a:t>
                      </a:r>
                      <a:endParaRPr kumimoji="1" lang="en-US" sz="9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Verdana Pro Cond SemiBold" panose="020B0706030504040204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371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i="0" dirty="0" smtClean="0">
                          <a:solidFill>
                            <a:schemeClr val="tx1"/>
                          </a:solidFill>
                          <a:latin typeface="Verdana Pro Cond SemiBold" panose="020B0706030504040204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$29,990</a:t>
                      </a:r>
                      <a:endParaRPr lang="en-US" sz="900" b="0" i="0" dirty="0">
                        <a:solidFill>
                          <a:schemeClr val="tx1"/>
                        </a:solidFill>
                        <a:latin typeface="Verdana Pro Cond SemiBold" panose="020B0706030504040204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>
                          <a:solidFill>
                            <a:schemeClr val="tx1"/>
                          </a:solidFill>
                          <a:latin typeface="Verdana Pro Cond SemiBold" panose="020B0706030504040204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$36,620</a:t>
                      </a:r>
                      <a:endParaRPr lang="en-US" sz="900" b="0" dirty="0">
                        <a:solidFill>
                          <a:schemeClr val="tx1"/>
                        </a:solidFill>
                        <a:latin typeface="Verdana Pro Cond SemiBold" panose="020B0706030504040204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900" b="0" kern="1200" dirty="0" smtClean="0">
                          <a:solidFill>
                            <a:schemeClr val="tx1"/>
                          </a:solidFill>
                          <a:latin typeface="Verdana Pro Cond SemiBold" panose="020B0706030504040204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$29,12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>
                          <a:solidFill>
                            <a:schemeClr val="tx1"/>
                          </a:solidFill>
                          <a:latin typeface="Verdana Pro Cond SemiBold" panose="020B0706030504040204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$29,500</a:t>
                      </a:r>
                      <a:endParaRPr lang="en-US" sz="900" b="0" dirty="0">
                        <a:solidFill>
                          <a:schemeClr val="tx1"/>
                        </a:solidFill>
                        <a:latin typeface="Verdana Pro Cond SemiBold" panose="020B0706030504040204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900" kern="1200" dirty="0" smtClean="0">
                          <a:solidFill>
                            <a:schemeClr val="tx1"/>
                          </a:solidFill>
                          <a:latin typeface="Verdana Pro Cond SemiBold" panose="020B0706030504040204" pitchFamily="34" charset="0"/>
                          <a:ea typeface="+mn-ea"/>
                          <a:cs typeface="+mn-cs"/>
                        </a:rPr>
                        <a:t>$29,000</a:t>
                      </a:r>
                      <a:endParaRPr lang="en-US" sz="900" kern="1200" dirty="0">
                        <a:solidFill>
                          <a:schemeClr val="tx1"/>
                        </a:solidFill>
                        <a:latin typeface="Verdana Pro Cond SemiBold" panose="020B070603050404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900" kern="1200" dirty="0" smtClean="0">
                          <a:solidFill>
                            <a:schemeClr val="tx1"/>
                          </a:solidFill>
                          <a:latin typeface="Verdana Pro Cond SemiBold" panose="020B0706030504040204" pitchFamily="34" charset="0"/>
                          <a:ea typeface="+mn-ea"/>
                          <a:cs typeface="+mn-cs"/>
                        </a:rPr>
                        <a:t>$35,000</a:t>
                      </a:r>
                      <a:endParaRPr lang="en-US" sz="900" kern="1200" dirty="0">
                        <a:solidFill>
                          <a:schemeClr val="tx1"/>
                        </a:solidFill>
                        <a:latin typeface="Verdana Pro Cond SemiBold" panose="020B070603050404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47182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1" lang="en-US" sz="9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Verdana Pro Cond SemiBold" panose="020B0706030504040204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Driving Range</a:t>
                      </a:r>
                    </a:p>
                    <a:p>
                      <a:pPr marL="0" algn="ctr" defTabSz="914400" rtl="0" eaLnBrk="1" latinLnBrk="0" hangingPunct="1"/>
                      <a:r>
                        <a:rPr kumimoji="1" lang="en-US" sz="9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Verdana Pro Cond SemiBold" panose="020B0706030504040204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(Battery</a:t>
                      </a:r>
                      <a:r>
                        <a:rPr kumimoji="1" lang="en-US" sz="9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Verdana Pro Cond SemiBold" panose="020B0706030504040204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Capacity</a:t>
                      </a:r>
                      <a:r>
                        <a:rPr kumimoji="1" lang="en-US" sz="9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Verdana Pro Cond SemiBold" panose="020B0706030504040204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)</a:t>
                      </a:r>
                      <a:endParaRPr kumimoji="1" lang="en-US" sz="9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Verdana Pro Cond SemiBold" panose="020B0706030504040204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371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>
                          <a:solidFill>
                            <a:schemeClr val="tx1"/>
                          </a:solidFill>
                          <a:latin typeface="Verdana Pro Cond SemiBold" panose="020B0706030504040204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150 miles</a:t>
                      </a:r>
                    </a:p>
                    <a:p>
                      <a:pPr algn="ctr"/>
                      <a:r>
                        <a:rPr lang="en-US" sz="900" b="0" dirty="0" smtClean="0">
                          <a:solidFill>
                            <a:schemeClr val="tx1"/>
                          </a:solidFill>
                          <a:latin typeface="Verdana Pro Cond SemiBold" panose="020B0706030504040204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(40kWh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>
                          <a:solidFill>
                            <a:schemeClr val="tx1"/>
                          </a:solidFill>
                          <a:latin typeface="Verdana Pro Cond SemiBold" panose="020B0706030504040204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238 miles</a:t>
                      </a:r>
                    </a:p>
                    <a:p>
                      <a:pPr algn="ctr"/>
                      <a:r>
                        <a:rPr lang="en-US" sz="900" b="0" dirty="0" smtClean="0">
                          <a:solidFill>
                            <a:schemeClr val="tx1"/>
                          </a:solidFill>
                          <a:latin typeface="Verdana Pro Cond SemiBold" panose="020B0706030504040204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(60 kWh)</a:t>
                      </a:r>
                      <a:endParaRPr lang="en-US" sz="900" b="0" dirty="0">
                        <a:solidFill>
                          <a:schemeClr val="tx1"/>
                        </a:solidFill>
                        <a:latin typeface="Verdana Pro Cond SemiBold" panose="020B0706030504040204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900" b="0" kern="1200" dirty="0" smtClean="0">
                          <a:solidFill>
                            <a:schemeClr val="tx1"/>
                          </a:solidFill>
                          <a:latin typeface="Verdana Pro Cond SemiBold" panose="020B0706030504040204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115 miles</a:t>
                      </a:r>
                    </a:p>
                    <a:p>
                      <a:pPr algn="ctr"/>
                      <a:r>
                        <a:rPr kumimoji="1" lang="en-US" altLang="ja-JP" sz="900" b="0" kern="1200" dirty="0" smtClean="0">
                          <a:solidFill>
                            <a:schemeClr val="tx1"/>
                          </a:solidFill>
                          <a:latin typeface="Verdana Pro Cond SemiBold" panose="020B0706030504040204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(33kWh)</a:t>
                      </a:r>
                    </a:p>
                  </a:txBody>
                  <a:tcPr marL="1371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>
                          <a:solidFill>
                            <a:schemeClr val="tx1"/>
                          </a:solidFill>
                          <a:latin typeface="Verdana Pro Cond SemiBold" panose="020B0706030504040204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124 miles</a:t>
                      </a:r>
                    </a:p>
                    <a:p>
                      <a:pPr algn="ctr"/>
                      <a:r>
                        <a:rPr lang="en-US" sz="900" b="0" dirty="0" smtClean="0">
                          <a:solidFill>
                            <a:schemeClr val="tx1"/>
                          </a:solidFill>
                          <a:latin typeface="Verdana Pro Cond SemiBold" panose="020B0706030504040204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(28kWh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 dirty="0" smtClean="0">
                          <a:solidFill>
                            <a:schemeClr val="tx1"/>
                          </a:solidFill>
                          <a:latin typeface="Verdana Pro Cond SemiBold" panose="020B0706030504040204" pitchFamily="34" charset="0"/>
                          <a:ea typeface="+mn-ea"/>
                          <a:cs typeface="+mn-cs"/>
                        </a:rPr>
                        <a:t>124 miles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 dirty="0" smtClean="0">
                          <a:solidFill>
                            <a:schemeClr val="tx1"/>
                          </a:solidFill>
                          <a:latin typeface="Verdana Pro Cond SemiBold" panose="020B0706030504040204" pitchFamily="34" charset="0"/>
                          <a:ea typeface="+mn-ea"/>
                          <a:cs typeface="+mn-cs"/>
                        </a:rPr>
                        <a:t>(36kWh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 dirty="0" smtClean="0">
                          <a:solidFill>
                            <a:schemeClr val="tx1"/>
                          </a:solidFill>
                          <a:latin typeface="Verdana Pro Cond SemiBold" panose="020B0706030504040204" pitchFamily="34" charset="0"/>
                          <a:ea typeface="+mn-ea"/>
                          <a:cs typeface="+mn-cs"/>
                        </a:rPr>
                        <a:t>220</a:t>
                      </a:r>
                      <a:r>
                        <a:rPr lang="en-US" sz="900" kern="1200" baseline="0" dirty="0" smtClean="0">
                          <a:solidFill>
                            <a:schemeClr val="tx1"/>
                          </a:solidFill>
                          <a:latin typeface="Verdana Pro Cond SemiBold" panose="020B0706030504040204" pitchFamily="34" charset="0"/>
                          <a:ea typeface="+mn-ea"/>
                          <a:cs typeface="+mn-cs"/>
                        </a:rPr>
                        <a:t> miles</a:t>
                      </a:r>
                      <a:endParaRPr lang="en-US" sz="900" kern="1200" dirty="0" smtClean="0">
                        <a:solidFill>
                          <a:schemeClr val="tx1"/>
                        </a:solidFill>
                        <a:latin typeface="Verdana Pro Cond SemiBold" panose="020B070603050404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25586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1" lang="en-US" sz="9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Verdana Pro Cond SemiBold" panose="020B0706030504040204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Electric Motor Output</a:t>
                      </a:r>
                      <a:endParaRPr kumimoji="1" lang="en-US" sz="9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Verdana Pro Cond SemiBold" panose="020B0706030504040204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371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9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 Pro Cond SemiBold" panose="020B0706030504040204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110kW (147 </a:t>
                      </a:r>
                      <a:r>
                        <a:rPr kumimoji="1" lang="en-US" sz="900" b="0" i="0" u="none" strike="noStrike" kern="1200" cap="none" spc="0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 Pro Cond SemiBold" panose="020B0706030504040204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hp</a:t>
                      </a:r>
                      <a:r>
                        <a:rPr kumimoji="1" lang="en-US" sz="9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 Pro Cond SemiBold" panose="020B0706030504040204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>
                          <a:solidFill>
                            <a:schemeClr val="tx1"/>
                          </a:solidFill>
                          <a:latin typeface="Verdana Pro Cond SemiBold" panose="020B0706030504040204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150kW (200 </a:t>
                      </a:r>
                      <a:r>
                        <a:rPr lang="en-US" sz="900" b="0" dirty="0" err="1" smtClean="0">
                          <a:solidFill>
                            <a:schemeClr val="tx1"/>
                          </a:solidFill>
                          <a:latin typeface="Verdana Pro Cond SemiBold" panose="020B0706030504040204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hp</a:t>
                      </a:r>
                      <a:r>
                        <a:rPr lang="en-US" sz="900" b="0" dirty="0" smtClean="0">
                          <a:solidFill>
                            <a:schemeClr val="tx1"/>
                          </a:solidFill>
                          <a:latin typeface="Verdana Pro Cond SemiBold" panose="020B0706030504040204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 Pro Cond SemiBold" panose="020B0706030504040204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107kW (143 </a:t>
                      </a:r>
                      <a:r>
                        <a:rPr kumimoji="1" lang="en-US" altLang="ja-JP" sz="9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 Pro Cond SemiBold" panose="020B0706030504040204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hp</a:t>
                      </a:r>
                      <a:r>
                        <a:rPr kumimoji="1" lang="en-US" altLang="ja-JP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Verdana Pro Cond SemiBold" panose="020B0706030504040204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)</a:t>
                      </a:r>
                    </a:p>
                  </a:txBody>
                  <a:tcPr marL="1371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>
                          <a:solidFill>
                            <a:schemeClr val="tx1"/>
                          </a:solidFill>
                          <a:latin typeface="Verdana Pro Cond SemiBold" panose="020B0706030504040204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88kW (118 </a:t>
                      </a:r>
                      <a:r>
                        <a:rPr lang="en-US" sz="900" b="0" dirty="0" err="1" smtClean="0">
                          <a:solidFill>
                            <a:schemeClr val="tx1"/>
                          </a:solidFill>
                          <a:latin typeface="Verdana Pro Cond SemiBold" panose="020B0706030504040204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hp</a:t>
                      </a:r>
                      <a:r>
                        <a:rPr lang="en-US" sz="900" b="0" dirty="0" smtClean="0">
                          <a:solidFill>
                            <a:schemeClr val="tx1"/>
                          </a:solidFill>
                          <a:latin typeface="Verdana Pro Cond SemiBold" panose="020B0706030504040204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 dirty="0" smtClean="0">
                          <a:solidFill>
                            <a:schemeClr val="tx1"/>
                          </a:solidFill>
                          <a:latin typeface="Verdana Pro Cond SemiBold" panose="020B0706030504040204" pitchFamily="34" charset="0"/>
                          <a:ea typeface="+mn-ea"/>
                          <a:cs typeface="+mn-cs"/>
                        </a:rPr>
                        <a:t>100kW (134 </a:t>
                      </a:r>
                      <a:r>
                        <a:rPr lang="en-US" sz="900" kern="1200" dirty="0" err="1" smtClean="0">
                          <a:solidFill>
                            <a:schemeClr val="tx1"/>
                          </a:solidFill>
                          <a:latin typeface="Verdana Pro Cond SemiBold" panose="020B0706030504040204" pitchFamily="34" charset="0"/>
                          <a:ea typeface="+mn-ea"/>
                          <a:cs typeface="+mn-cs"/>
                        </a:rPr>
                        <a:t>hp</a:t>
                      </a:r>
                      <a:r>
                        <a:rPr lang="en-US" sz="900" kern="1200" dirty="0" smtClean="0">
                          <a:solidFill>
                            <a:schemeClr val="tx1"/>
                          </a:solidFill>
                          <a:latin typeface="Verdana Pro Cond SemiBold" panose="020B0706030504040204" pitchFamily="34" charset="0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1371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 dirty="0" smtClean="0">
                          <a:solidFill>
                            <a:schemeClr val="tx1"/>
                          </a:solidFill>
                          <a:latin typeface="Verdana Pro Cond SemiBold" panose="020B0706030504040204" pitchFamily="34" charset="0"/>
                          <a:ea typeface="+mn-ea"/>
                          <a:cs typeface="+mn-cs"/>
                        </a:rPr>
                        <a:t>TBA</a:t>
                      </a:r>
                    </a:p>
                  </a:txBody>
                  <a:tcPr marL="1371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7033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1" lang="en-US" sz="9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Verdana Pro Cond SemiBold" panose="020B0706030504040204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Acceleration (0-60</a:t>
                      </a:r>
                      <a:r>
                        <a:rPr kumimoji="1" lang="en-US" sz="9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Verdana Pro Cond SemiBold" panose="020B0706030504040204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mph)</a:t>
                      </a:r>
                      <a:endParaRPr kumimoji="1" lang="en-US" sz="9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Verdana Pro Cond SemiBold" panose="020B0706030504040204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371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en-US" sz="900" b="1" dirty="0" smtClean="0">
                          <a:solidFill>
                            <a:prstClr val="black"/>
                          </a:solidFill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8.6 sec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en-US" sz="900" b="1" dirty="0" smtClean="0">
                          <a:solidFill>
                            <a:prstClr val="black"/>
                          </a:solidFill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6.5 se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en-US" sz="900" b="1" dirty="0" smtClean="0">
                          <a:solidFill>
                            <a:prstClr val="black"/>
                          </a:solidFill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9.9 sec</a:t>
                      </a:r>
                    </a:p>
                  </a:txBody>
                  <a:tcPr marL="1371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en-US" sz="900" b="1" dirty="0" smtClean="0">
                          <a:solidFill>
                            <a:prstClr val="black"/>
                          </a:solidFill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8.1</a:t>
                      </a:r>
                      <a:r>
                        <a:rPr lang="en-US" altLang="en-US" sz="900" b="1" baseline="0" dirty="0" smtClean="0">
                          <a:solidFill>
                            <a:prstClr val="black"/>
                          </a:solidFill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sec</a:t>
                      </a:r>
                      <a:endParaRPr lang="en-US" altLang="en-US" sz="900" b="1" dirty="0" smtClean="0">
                        <a:solidFill>
                          <a:prstClr val="black"/>
                        </a:solidFill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en-US" sz="900" b="1" dirty="0" smtClean="0">
                          <a:solidFill>
                            <a:prstClr val="black"/>
                          </a:solidFill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9.6 se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en-US" sz="900" b="1" dirty="0" smtClean="0">
                          <a:solidFill>
                            <a:prstClr val="black"/>
                          </a:solidFill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.6 - 5.1 sec</a:t>
                      </a:r>
                      <a:r>
                        <a:rPr lang="en-US" altLang="en-US" sz="900" b="1" baseline="0" dirty="0" smtClean="0">
                          <a:solidFill>
                            <a:prstClr val="black"/>
                          </a:solidFill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endParaRPr lang="en-US" altLang="en-US" sz="900" b="1" dirty="0" smtClean="0">
                        <a:solidFill>
                          <a:prstClr val="black"/>
                        </a:solidFill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152998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1" lang="en-US" sz="9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Verdana Pro Cond SemiBold" panose="020B0706030504040204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Standard Features</a:t>
                      </a:r>
                      <a:endParaRPr kumimoji="1" lang="en-US" sz="9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Verdana Pro Cond SemiBold" panose="020B0706030504040204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371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700" dirty="0" smtClean="0"/>
                        <a:t>Redesigned</a:t>
                      </a:r>
                      <a:r>
                        <a:rPr lang="en-US" sz="700" baseline="0" dirty="0" smtClean="0"/>
                        <a:t> interior &amp; exterior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700" baseline="0" dirty="0" smtClean="0"/>
                        <a:t>Automatic Emergency Braking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700" baseline="0" dirty="0" smtClean="0"/>
                        <a:t>e-Pedal with auto brake hold on all slopes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700" baseline="0" dirty="0" smtClean="0"/>
                        <a:t>Auto on/off headlights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700" baseline="0" dirty="0" smtClean="0"/>
                        <a:t>Easy-Fill Tire Alert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en-US" sz="700" dirty="0" smtClean="0">
                          <a:solidFill>
                            <a:prstClr val="black"/>
                          </a:solidFill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Hands-free phone and audio streaming via Bluetooth®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700" baseline="0" dirty="0" smtClean="0"/>
                        <a:t>Auto on/off headlight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7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ne pedal driving (no slope stop and hold)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7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w speed automatic emergency braking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en-US" sz="700" dirty="0" smtClean="0">
                          <a:solidFill>
                            <a:prstClr val="black"/>
                          </a:solidFill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Hands-free phone and audio streaming via Bluetooth®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aseline="0" dirty="0" smtClean="0"/>
                        <a:t>Auto on/off headlights</a:t>
                      </a:r>
                      <a:endParaRPr kumimoji="0" lang="en-US" sz="700" b="0" i="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Wingdings" panose="05000000000000000000" pitchFamily="2" charset="2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7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Hill Start Assist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en-US" sz="700" dirty="0" smtClean="0">
                          <a:solidFill>
                            <a:prstClr val="black"/>
                          </a:solidFill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Hands-free phone and audio streaming via Bluetooth®</a:t>
                      </a:r>
                    </a:p>
                  </a:txBody>
                  <a:tcPr marL="1371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aseline="0" dirty="0" smtClean="0"/>
                        <a:t>Auto on/off headlight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en-US" sz="700" dirty="0" smtClean="0">
                          <a:solidFill>
                            <a:prstClr val="black"/>
                          </a:solidFill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Hands-free phone and audio streaming via Bluetooth®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en-US" sz="700" dirty="0" smtClean="0">
                          <a:solidFill>
                            <a:prstClr val="black"/>
                          </a:solidFill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Hands-free phone and audio streaming via Bluetooth®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en-US" sz="700" dirty="0" smtClean="0">
                          <a:solidFill>
                            <a:prstClr val="black"/>
                          </a:solidFill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hree regenerative braking mod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dirty="0" smtClean="0"/>
                        <a:t>Automatic Emergency Braking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en-US" sz="700" dirty="0" smtClean="0">
                          <a:solidFill>
                            <a:prstClr val="black"/>
                          </a:solidFill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” touchscreen w/ onboard maps &amp; navigation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en-US" sz="700" dirty="0" smtClean="0">
                          <a:solidFill>
                            <a:prstClr val="black"/>
                          </a:solidFill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Wi-Fi &amp; LTE internet connectivity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en-US" sz="700" dirty="0" smtClean="0">
                          <a:solidFill>
                            <a:prstClr val="black"/>
                          </a:solidFill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Keyless entry &amp; remote climate control w/ app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en-US" sz="700" dirty="0" smtClean="0">
                          <a:solidFill>
                            <a:prstClr val="black"/>
                          </a:solidFill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Voice activated control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en-US" sz="700" dirty="0" smtClean="0">
                          <a:solidFill>
                            <a:prstClr val="black"/>
                          </a:solidFill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ide collision warning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en-US" sz="700" dirty="0" smtClean="0">
                          <a:solidFill>
                            <a:prstClr val="black"/>
                          </a:solidFill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uto</a:t>
                      </a:r>
                      <a:r>
                        <a:rPr lang="en-US" altLang="en-US" sz="700" baseline="0" dirty="0" smtClean="0">
                          <a:solidFill>
                            <a:prstClr val="black"/>
                          </a:solidFill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high beams</a:t>
                      </a:r>
                      <a:endParaRPr lang="en-US" altLang="en-US" sz="700" dirty="0" smtClean="0">
                        <a:solidFill>
                          <a:prstClr val="black"/>
                        </a:solidFill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altLang="en-US" sz="700" dirty="0" smtClean="0">
                        <a:solidFill>
                          <a:prstClr val="black"/>
                        </a:solidFill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757646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1" lang="en-US" sz="9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Verdana Pro Cond SemiBold" panose="020B0706030504040204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Available Safety Features</a:t>
                      </a:r>
                      <a:endParaRPr kumimoji="1" lang="en-US" sz="9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Verdana Pro Cond SemiBold" panose="020B0706030504040204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371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7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utomatic Emergency Braking with Pedestrian Detection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7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lind Spot Warning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7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telligent Lane Intervention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7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ar Cross Traffic Alert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7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river Attention Alert</a:t>
                      </a:r>
                      <a:endParaRPr kumimoji="0" lang="en-US" sz="700" b="0" i="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Wingdings" panose="05000000000000000000" pitchFamily="2" charset="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7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ane Keep Assist with Departure Warning</a:t>
                      </a:r>
                      <a:endParaRPr kumimoji="0" lang="en-US" sz="7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7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  <a:endParaRPr kumimoji="0" lang="en-US" sz="7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71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7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utomatic Emergency Braking</a:t>
                      </a:r>
                      <a:endParaRPr kumimoji="0" lang="en-US" sz="7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7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lind Spot Warning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7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ar Cross Traffic Alert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7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ane Departure Warn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7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lind Spot Monitor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7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ane Departure Warning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aseline="0" dirty="0" smtClean="0"/>
                        <a:t>Automatic Emergency Brak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700" baseline="0" dirty="0" smtClean="0"/>
                        <a:t>Lane Keep Assi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463174384"/>
                  </a:ext>
                </a:extLst>
              </a:tr>
              <a:tr h="877176">
                <a:tc>
                  <a:txBody>
                    <a:bodyPr/>
                    <a:lstStyle/>
                    <a:p>
                      <a:pPr algn="ctr"/>
                      <a:r>
                        <a:rPr lang="en-US" sz="9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Verdana Pro Cond SemiBold" panose="020B0706030504040204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Available Advanced Technologies</a:t>
                      </a:r>
                      <a:endParaRPr lang="en-US" sz="9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Verdana Pro Cond SemiBold" panose="020B0706030504040204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371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7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ProPILOT Assist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7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Intelligent Cruise Control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7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Intelligent Around View Monitor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7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High Beam Assi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7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Surround Vision Camera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7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High Beam Assi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7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7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mart Cruise Control</a:t>
                      </a:r>
                      <a:endParaRPr kumimoji="0" lang="en-US" sz="7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7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ntertainment screen with gesture control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7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aptive Cruise Control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7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igh Beam Assist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7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ark Assi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7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10 mile long range battery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7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nhanced Autopilot (ICC + auto lane change + self-park)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7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ardware for full self-drive (full functionality dependent on testing and regulatory approval);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</a:tbl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88573" y="1526203"/>
            <a:ext cx="1271105" cy="631254"/>
          </a:xfrm>
          <a:prstGeom prst="rect">
            <a:avLst/>
          </a:prstGeom>
        </p:spPr>
      </p:pic>
      <p:pic>
        <p:nvPicPr>
          <p:cNvPr id="3" name="Picture 11" descr="PRINT_Red_PRIMARY_ITE_NOBLEED_CMYK_4C-0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85554" cy="9725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EEECE1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/>
        </p:nvSpPr>
        <p:spPr>
          <a:xfrm>
            <a:off x="785554" y="0"/>
            <a:ext cx="11406446" cy="972590"/>
          </a:xfrm>
          <a:prstGeom prst="rect">
            <a:avLst/>
          </a:prstGeom>
          <a:solidFill>
            <a:srgbClr val="C3C5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solidFill>
                  <a:prstClr val="black"/>
                </a:solidFill>
                <a:latin typeface="Verdana Pro SemiBold" panose="020B0704030504040204" pitchFamily="34" charset="0"/>
              </a:rPr>
              <a:t>Introducing the All-New 2018 LEAF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0" y="919972"/>
            <a:ext cx="120943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en-US" sz="1600" dirty="0">
                <a:solidFill>
                  <a:prstClr val="black"/>
                </a:solidFill>
              </a:rPr>
              <a:t>The 2018 LEAF will be highly competitive within the BEV (Battery Electric Vehicle) segment due to price positioning and feature content.</a:t>
            </a:r>
          </a:p>
        </p:txBody>
      </p:sp>
      <p:pic>
        <p:nvPicPr>
          <p:cNvPr id="10" name="Picture 9" descr="http://68.media.tumblr.com/3a5bace0f368b9c96614eeb6d32337bd/tumblr_inline_o5d8rriJXT1tyocqo_1280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987" b="22580"/>
          <a:stretch/>
        </p:blipFill>
        <p:spPr bwMode="auto">
          <a:xfrm>
            <a:off x="4940212" y="1527160"/>
            <a:ext cx="1637371" cy="651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8" descr="Related image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814179" y="1351265"/>
            <a:ext cx="1504245" cy="934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61114" y="1576897"/>
            <a:ext cx="1137452" cy="635096"/>
          </a:xfrm>
          <a:prstGeom prst="rect">
            <a:avLst/>
          </a:prstGeom>
        </p:spPr>
      </p:pic>
      <p:pic>
        <p:nvPicPr>
          <p:cNvPr id="14" name="Picture 4" descr="https://s.blogcdn.com/slideshows/images/slides/683/245/1/S6832451/slug/l/model-3-mountain-pearl-1.jp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95" t="38579" r="22344" b="19739"/>
          <a:stretch/>
        </p:blipFill>
        <p:spPr bwMode="auto">
          <a:xfrm>
            <a:off x="10611914" y="1609333"/>
            <a:ext cx="1347922" cy="548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730403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6800" y="87430"/>
            <a:ext cx="11758613" cy="569913"/>
          </a:xfrm>
          <a:prstGeom prst="rect">
            <a:avLst/>
          </a:prstGeom>
        </p:spPr>
        <p:txBody>
          <a:bodyPr/>
          <a:lstStyle/>
          <a:p>
            <a:r>
              <a:rPr lang="en-US" sz="2800" b="1" dirty="0">
                <a:latin typeface="Verdana" panose="020B0604030504040204" pitchFamily="34" charset="0"/>
              </a:rPr>
              <a:t>BEV Segment Range and Price Distribution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072842" y="5214871"/>
            <a:ext cx="32403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sz="1600" b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Chevrolet Bolt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902440" y="2254323"/>
            <a:ext cx="32403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sz="1600" b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Ford Focus Electric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096344" y="2254323"/>
            <a:ext cx="32403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sz="1600" b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Volkswagen e-Golf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1443846" y="5565454"/>
          <a:ext cx="2842749" cy="107677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4317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69957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27492">
                <a:tc>
                  <a:txBody>
                    <a:bodyPr/>
                    <a:lstStyle/>
                    <a:p>
                      <a:pPr algn="r"/>
                      <a:r>
                        <a:rPr lang="en-US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MSRP</a:t>
                      </a:r>
                      <a:endParaRPr lang="en-US" sz="12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T="18288" marB="18288"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$36.6k</a:t>
                      </a:r>
                      <a:endParaRPr lang="en-US" sz="12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0" marT="18288" marB="18288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09248">
                <a:tc>
                  <a:txBody>
                    <a:bodyPr/>
                    <a:lstStyle/>
                    <a:p>
                      <a:pPr algn="r"/>
                      <a:r>
                        <a:rPr lang="en-US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Range</a:t>
                      </a:r>
                      <a:endParaRPr lang="en-US" sz="12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T="18288" marB="18288"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238 mi</a:t>
                      </a:r>
                      <a:endParaRPr lang="en-US" sz="12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0" marT="18288" marB="18288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27492">
                <a:tc>
                  <a:txBody>
                    <a:bodyPr/>
                    <a:lstStyle/>
                    <a:p>
                      <a:pPr algn="r"/>
                      <a:r>
                        <a:rPr lang="en-US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Battery</a:t>
                      </a:r>
                      <a:endParaRPr lang="en-US" sz="12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T="18288" marB="18288"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60 kWh</a:t>
                      </a:r>
                      <a:endParaRPr lang="en-US" sz="12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0" marT="18288" marB="18288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02336">
                <a:tc>
                  <a:txBody>
                    <a:bodyPr/>
                    <a:lstStyle/>
                    <a:p>
                      <a:pPr algn="r"/>
                      <a:r>
                        <a:rPr lang="en-US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Power</a:t>
                      </a:r>
                      <a:endParaRPr lang="en-US" sz="12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T="18288" marB="18288"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200 HP (150 kW)</a:t>
                      </a:r>
                      <a:endParaRPr lang="en-US" sz="12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0" marT="18288" marB="18288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/>
          </p:nvPr>
        </p:nvGraphicFramePr>
        <p:xfrm>
          <a:off x="3141800" y="2592139"/>
          <a:ext cx="2965611" cy="108481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9908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66652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27492">
                <a:tc>
                  <a:txBody>
                    <a:bodyPr/>
                    <a:lstStyle/>
                    <a:p>
                      <a:pPr algn="r"/>
                      <a:r>
                        <a:rPr lang="en-US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MSRP</a:t>
                      </a:r>
                      <a:endParaRPr lang="en-US" sz="12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T="18288" marB="18288"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$29k</a:t>
                      </a:r>
                      <a:endParaRPr lang="en-US" sz="12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0" marT="18288" marB="18288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27492">
                <a:tc>
                  <a:txBody>
                    <a:bodyPr/>
                    <a:lstStyle/>
                    <a:p>
                      <a:pPr algn="r"/>
                      <a:r>
                        <a:rPr lang="en-US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Range</a:t>
                      </a:r>
                      <a:endParaRPr lang="en-US" sz="12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T="18288" marB="18288"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124 mi</a:t>
                      </a:r>
                      <a:endParaRPr lang="en-US" sz="12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0" marT="18288" marB="18288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27492">
                <a:tc>
                  <a:txBody>
                    <a:bodyPr/>
                    <a:lstStyle/>
                    <a:p>
                      <a:pPr algn="r"/>
                      <a:r>
                        <a:rPr lang="en-US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Battery</a:t>
                      </a:r>
                      <a:endParaRPr lang="en-US" sz="12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T="18288" marB="18288"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36 kWh</a:t>
                      </a:r>
                      <a:endParaRPr lang="en-US" sz="12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0" marT="18288" marB="18288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02336">
                <a:tc>
                  <a:txBody>
                    <a:bodyPr/>
                    <a:lstStyle/>
                    <a:p>
                      <a:pPr algn="r"/>
                      <a:r>
                        <a:rPr lang="en-US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Power</a:t>
                      </a:r>
                      <a:endParaRPr lang="en-US" sz="12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T="18288" marB="18288"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134</a:t>
                      </a:r>
                      <a:r>
                        <a:rPr lang="en-US" sz="1200" b="1" baseline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 HP (</a:t>
                      </a:r>
                      <a:r>
                        <a:rPr lang="en-US" sz="1200" b="1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100</a:t>
                      </a:r>
                      <a:r>
                        <a:rPr lang="en-US" sz="1200" b="1" baseline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 </a:t>
                      </a:r>
                      <a:r>
                        <a:rPr lang="en-US" sz="1200" b="1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kW)</a:t>
                      </a:r>
                    </a:p>
                    <a:p>
                      <a:endParaRPr lang="en-US" sz="12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0" marT="18288" marB="18288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/>
          </p:nvPr>
        </p:nvGraphicFramePr>
        <p:xfrm>
          <a:off x="9022374" y="2592139"/>
          <a:ext cx="2956163" cy="108481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2185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73430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27492">
                <a:tc>
                  <a:txBody>
                    <a:bodyPr/>
                    <a:lstStyle/>
                    <a:p>
                      <a:pPr algn="r"/>
                      <a:r>
                        <a:rPr lang="en-US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MSRP</a:t>
                      </a:r>
                      <a:endParaRPr lang="en-US" sz="12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T="18288" marB="18288"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$29k</a:t>
                      </a:r>
                      <a:endParaRPr lang="en-US" sz="12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0" marT="18288" marB="18288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27492">
                <a:tc>
                  <a:txBody>
                    <a:bodyPr/>
                    <a:lstStyle/>
                    <a:p>
                      <a:pPr algn="r"/>
                      <a:r>
                        <a:rPr lang="en-US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Range</a:t>
                      </a:r>
                      <a:endParaRPr lang="en-US" sz="12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T="18288" marB="18288"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115 mi</a:t>
                      </a:r>
                      <a:r>
                        <a:rPr lang="en-US" sz="1200" b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 </a:t>
                      </a:r>
                      <a:endParaRPr lang="en-US" sz="12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0" marT="18288" marB="18288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27492">
                <a:tc>
                  <a:txBody>
                    <a:bodyPr/>
                    <a:lstStyle/>
                    <a:p>
                      <a:pPr algn="r"/>
                      <a:r>
                        <a:rPr lang="en-US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Battery</a:t>
                      </a:r>
                      <a:endParaRPr lang="en-US" sz="12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T="18288" marB="18288"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33 kWh</a:t>
                      </a:r>
                      <a:endParaRPr lang="en-US" sz="12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0" marT="18288" marB="18288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02336">
                <a:tc>
                  <a:txBody>
                    <a:bodyPr/>
                    <a:lstStyle/>
                    <a:p>
                      <a:pPr algn="r"/>
                      <a:r>
                        <a:rPr lang="en-US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Power</a:t>
                      </a:r>
                      <a:endParaRPr lang="en-US" sz="12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T="18288" marB="18288"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143 HP (107</a:t>
                      </a:r>
                      <a:r>
                        <a:rPr lang="en-US" sz="1200" b="1" baseline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 </a:t>
                      </a:r>
                      <a:r>
                        <a:rPr lang="en-US" sz="1200" b="1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kW)</a:t>
                      </a:r>
                      <a:endParaRPr lang="en-US" sz="12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0" marT="18288" marB="18288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11" name="Picture 16" descr="http://68.media.tumblr.com/5d7c070d74bf4f4795e66eb1356ec929/tumblr_inline_o5dsvyw3qA1tyocqo_1280.jpg"/>
          <p:cNvPicPr>
            <a:picLocks noChangeAspect="1" noChangeArrowheads="1"/>
          </p:cNvPicPr>
          <p:nvPr/>
        </p:nvPicPr>
        <p:blipFill rotWithShape="1"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518360" y="1181332"/>
            <a:ext cx="2396328" cy="1051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8" descr="http://68.media.tumblr.com/3a5bace0f368b9c96614eeb6d32337bd/tumblr_inline_o5d8rriJXT1tyocqo_1280.jpg"/>
          <p:cNvPicPr>
            <a:picLocks noChangeAspect="1" noChangeArrowheads="1"/>
          </p:cNvPicPr>
          <p:nvPr/>
        </p:nvPicPr>
        <p:blipFill rotWithShape="1">
          <a:blip r:embed="rId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369276" y="1244874"/>
            <a:ext cx="2306688" cy="924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04048" y="4171746"/>
            <a:ext cx="2013755" cy="1080085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4101437" y="5226900"/>
            <a:ext cx="32403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sz="1600" b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Tesla Model 3</a:t>
            </a:r>
          </a:p>
        </p:txBody>
      </p:sp>
      <p:graphicFrame>
        <p:nvGraphicFramePr>
          <p:cNvPr id="17" name="Table 16"/>
          <p:cNvGraphicFramePr>
            <a:graphicFrameLocks noGrp="1"/>
          </p:cNvGraphicFramePr>
          <p:nvPr>
            <p:extLst/>
          </p:nvPr>
        </p:nvGraphicFramePr>
        <p:xfrm>
          <a:off x="4428805" y="5565454"/>
          <a:ext cx="2505744" cy="90996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9908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20666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27492">
                <a:tc>
                  <a:txBody>
                    <a:bodyPr/>
                    <a:lstStyle/>
                    <a:p>
                      <a:pPr algn="r"/>
                      <a:r>
                        <a:rPr lang="en-US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MSRP</a:t>
                      </a:r>
                      <a:endParaRPr lang="en-US" sz="12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T="18288" marB="18288"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$35k</a:t>
                      </a:r>
                      <a:endParaRPr lang="en-US" sz="12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0" marT="18288" marB="18288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27492">
                <a:tc>
                  <a:txBody>
                    <a:bodyPr/>
                    <a:lstStyle/>
                    <a:p>
                      <a:pPr algn="r"/>
                      <a:r>
                        <a:rPr lang="en-US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Range</a:t>
                      </a:r>
                      <a:endParaRPr lang="en-US" sz="12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T="18288" marB="18288"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220 mi</a:t>
                      </a:r>
                      <a:endParaRPr lang="en-US" sz="12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0" marT="18288" marB="18288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27492">
                <a:tc>
                  <a:txBody>
                    <a:bodyPr/>
                    <a:lstStyle/>
                    <a:p>
                      <a:pPr algn="r"/>
                      <a:r>
                        <a:rPr lang="en-US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Battery</a:t>
                      </a:r>
                      <a:endParaRPr lang="en-US" sz="12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T="18288" marB="18288"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50</a:t>
                      </a:r>
                      <a:r>
                        <a:rPr lang="en-US" sz="1200" b="1" baseline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 kWh</a:t>
                      </a:r>
                      <a:endParaRPr lang="en-US" sz="12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0" marT="18288" marB="18288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27492">
                <a:tc>
                  <a:txBody>
                    <a:bodyPr/>
                    <a:lstStyle/>
                    <a:p>
                      <a:pPr algn="r"/>
                      <a:r>
                        <a:rPr lang="en-US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Power</a:t>
                      </a:r>
                      <a:endParaRPr lang="en-US" sz="12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T="18288" marB="18288"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258 </a:t>
                      </a:r>
                      <a:r>
                        <a:rPr lang="en-US" sz="1200" b="1" baseline="0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HP</a:t>
                      </a:r>
                      <a:endParaRPr lang="en-US" sz="12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0" marT="18288" marB="18288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5924283" y="2254323"/>
            <a:ext cx="32403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sz="1600" b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Hyundai </a:t>
            </a:r>
            <a:r>
              <a:rPr kumimoji="1" lang="en-US" sz="1600" b="1" dirty="0" err="1">
                <a:solidFill>
                  <a:prstClr val="black">
                    <a:lumMod val="85000"/>
                    <a:lumOff val="15000"/>
                  </a:prstClr>
                </a:solidFill>
              </a:rPr>
              <a:t>Ioniq</a:t>
            </a:r>
            <a:r>
              <a:rPr kumimoji="1" lang="en-US" sz="1600" b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 Electric</a:t>
            </a:r>
          </a:p>
        </p:txBody>
      </p:sp>
      <p:graphicFrame>
        <p:nvGraphicFramePr>
          <p:cNvPr id="19" name="Table 18"/>
          <p:cNvGraphicFramePr>
            <a:graphicFrameLocks noGrp="1"/>
          </p:cNvGraphicFramePr>
          <p:nvPr>
            <p:extLst/>
          </p:nvPr>
        </p:nvGraphicFramePr>
        <p:xfrm>
          <a:off x="5969739" y="2592139"/>
          <a:ext cx="2945984" cy="108481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9908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64690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27492">
                <a:tc>
                  <a:txBody>
                    <a:bodyPr/>
                    <a:lstStyle/>
                    <a:p>
                      <a:pPr algn="r"/>
                      <a:r>
                        <a:rPr lang="en-US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MSRP</a:t>
                      </a:r>
                      <a:endParaRPr lang="en-US" sz="12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T="18288" marB="18288"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$29.5k</a:t>
                      </a:r>
                      <a:endParaRPr lang="en-US" sz="12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0" marT="18288" marB="18288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27492">
                <a:tc>
                  <a:txBody>
                    <a:bodyPr/>
                    <a:lstStyle/>
                    <a:p>
                      <a:pPr algn="r"/>
                      <a:r>
                        <a:rPr lang="en-US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Range</a:t>
                      </a:r>
                      <a:endParaRPr lang="en-US" sz="12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T="18288" marB="18288"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124 mi</a:t>
                      </a:r>
                      <a:endParaRPr lang="en-US" sz="12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0" marT="18288" marB="18288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27492">
                <a:tc>
                  <a:txBody>
                    <a:bodyPr/>
                    <a:lstStyle/>
                    <a:p>
                      <a:pPr algn="r"/>
                      <a:r>
                        <a:rPr lang="en-US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Battery</a:t>
                      </a:r>
                      <a:endParaRPr lang="en-US" sz="12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T="18288" marB="18288"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28 kWh</a:t>
                      </a:r>
                      <a:endParaRPr lang="en-US" sz="12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0" marT="18288" marB="18288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02336">
                <a:tc>
                  <a:txBody>
                    <a:bodyPr/>
                    <a:lstStyle/>
                    <a:p>
                      <a:pPr algn="r"/>
                      <a:r>
                        <a:rPr lang="en-US" sz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Power</a:t>
                      </a:r>
                      <a:endParaRPr lang="en-US" sz="12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T="18288" marB="18288"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118 HP (88 kW)</a:t>
                      </a:r>
                      <a:endParaRPr lang="en-US" sz="12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</a:endParaRPr>
                    </a:p>
                  </a:txBody>
                  <a:tcPr marL="0" marT="18288" marB="18288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20" name="Picture 2" descr="Image result for chevy bolt silver"/>
          <p:cNvPicPr>
            <a:picLocks noChangeAspect="1" noChangeArrowheads="1"/>
          </p:cNvPicPr>
          <p:nvPr/>
        </p:nvPicPr>
        <p:blipFill rotWithShape="1">
          <a:blip r:embed="rId5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971406" y="4230508"/>
            <a:ext cx="1645980" cy="962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8" descr="Related image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6344902" y="1043831"/>
            <a:ext cx="2119141" cy="1326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2" name="Straight Connector 21"/>
          <p:cNvCxnSpPr/>
          <p:nvPr/>
        </p:nvCxnSpPr>
        <p:spPr>
          <a:xfrm>
            <a:off x="619680" y="3791847"/>
            <a:ext cx="10757584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6667" y="4386858"/>
            <a:ext cx="1226025" cy="6663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spcAft>
                <a:spcPts val="600"/>
              </a:spcAft>
              <a:defRPr sz="1600" b="1">
                <a:latin typeface="Century Gothic" panose="020B0502020202020204" pitchFamily="34" charset="0"/>
              </a:defRPr>
            </a:lvl1pPr>
          </a:lstStyle>
          <a:p>
            <a:r>
              <a:rPr kumimoji="1" lang="en-US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Verdana"/>
              </a:rPr>
              <a:t>&gt;200mi </a:t>
            </a:r>
          </a:p>
          <a:p>
            <a:pPr>
              <a:spcAft>
                <a:spcPts val="800"/>
              </a:spcAft>
            </a:pPr>
            <a:r>
              <a:rPr kumimoji="1" lang="en-US" sz="1630" dirty="0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$35k+</a:t>
            </a:r>
            <a:endParaRPr kumimoji="1" lang="en-US" dirty="0">
              <a:solidFill>
                <a:prstClr val="black">
                  <a:lumMod val="85000"/>
                  <a:lumOff val="15000"/>
                </a:prstClr>
              </a:solidFill>
              <a:latin typeface="Verdana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6800" y="1358778"/>
            <a:ext cx="1205760" cy="6966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 b="1">
                <a:latin typeface="Century Gothic" panose="020B0502020202020204" pitchFamily="34" charset="0"/>
              </a:defRPr>
            </a:lvl1pPr>
          </a:lstStyle>
          <a:p>
            <a:pPr>
              <a:spcAft>
                <a:spcPts val="800"/>
              </a:spcAft>
            </a:pPr>
            <a:r>
              <a:rPr kumimoji="1" lang="en-US" sz="163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Verdana"/>
              </a:rPr>
              <a:t>&lt;200mi</a:t>
            </a:r>
          </a:p>
          <a:p>
            <a:pPr>
              <a:spcAft>
                <a:spcPts val="800"/>
              </a:spcAft>
            </a:pPr>
            <a:r>
              <a:rPr kumimoji="1" lang="en-US" sz="1630" dirty="0">
                <a:solidFill>
                  <a:prstClr val="black">
                    <a:lumMod val="85000"/>
                    <a:lumOff val="15000"/>
                  </a:prstClr>
                </a:solidFill>
              </a:rPr>
              <a:t>~$29k</a:t>
            </a:r>
            <a:r>
              <a:rPr kumimoji="1" lang="en-US" sz="1630" dirty="0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+</a:t>
            </a:r>
            <a:endParaRPr kumimoji="1" lang="en-US" sz="1630" dirty="0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4195641" y="793616"/>
            <a:ext cx="857927" cy="2616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31750"/>
          </a:effectLst>
        </p:spPr>
        <p:txBody>
          <a:bodyPr wrap="none" rtlCol="0">
            <a:spAutoFit/>
          </a:bodyPr>
          <a:lstStyle/>
          <a:p>
            <a:r>
              <a:rPr kumimoji="1" lang="en-US" altLang="ja-JP" sz="1100" b="1" dirty="0">
                <a:solidFill>
                  <a:sysClr val="windowText" lastClr="000000"/>
                </a:solidFill>
              </a:rPr>
              <a:t>Q3 2017</a:t>
            </a:r>
            <a:endParaRPr kumimoji="1" lang="ja-JP" altLang="en-US" sz="1100" b="1" dirty="0">
              <a:solidFill>
                <a:sysClr val="windowText" lastClr="000000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6355734" y="708977"/>
            <a:ext cx="2173993" cy="4308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31750"/>
          </a:effectLst>
        </p:spPr>
        <p:txBody>
          <a:bodyPr wrap="none" rtlCol="0">
            <a:spAutoFit/>
          </a:bodyPr>
          <a:lstStyle/>
          <a:p>
            <a:pPr algn="ctr"/>
            <a:r>
              <a:rPr kumimoji="1" lang="en-US" altLang="ja-JP" sz="1100" b="1" dirty="0">
                <a:solidFill>
                  <a:sysClr val="windowText" lastClr="000000"/>
                </a:solidFill>
              </a:rPr>
              <a:t>ON SALE</a:t>
            </a:r>
          </a:p>
          <a:p>
            <a:pPr algn="ctr"/>
            <a:r>
              <a:rPr kumimoji="1" lang="en-US" altLang="ja-JP" sz="1100" b="1" dirty="0">
                <a:solidFill>
                  <a:sysClr val="windowText" lastClr="000000"/>
                </a:solidFill>
              </a:rPr>
              <a:t>CA only (SOS – April ‘17)</a:t>
            </a:r>
            <a:endParaRPr kumimoji="1" lang="ja-JP" altLang="en-US" sz="1100" b="1" dirty="0">
              <a:solidFill>
                <a:sysClr val="windowText" lastClr="000000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0088045" y="793615"/>
            <a:ext cx="869149" cy="2616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31750"/>
          </a:effectLst>
        </p:spPr>
        <p:txBody>
          <a:bodyPr wrap="none" rtlCol="0">
            <a:spAutoFit/>
          </a:bodyPr>
          <a:lstStyle/>
          <a:p>
            <a:r>
              <a:rPr kumimoji="1" lang="en-US" altLang="ja-JP" sz="1100" b="1" dirty="0">
                <a:solidFill>
                  <a:sysClr val="windowText" lastClr="000000"/>
                </a:solidFill>
              </a:rPr>
              <a:t>ON SALE</a:t>
            </a:r>
            <a:endParaRPr kumimoji="1" lang="ja-JP" altLang="en-US" sz="1100" b="1" dirty="0">
              <a:solidFill>
                <a:sysClr val="windowText" lastClr="000000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504056" y="2258442"/>
            <a:ext cx="32403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sz="1600" b="1" dirty="0">
                <a:solidFill>
                  <a:srgbClr val="0382B6"/>
                </a:solidFill>
              </a:rPr>
              <a:t>MY18 Nissan LEAF</a:t>
            </a:r>
          </a:p>
        </p:txBody>
      </p:sp>
      <p:graphicFrame>
        <p:nvGraphicFramePr>
          <p:cNvPr id="34" name="Table 33"/>
          <p:cNvGraphicFramePr>
            <a:graphicFrameLocks noGrp="1"/>
          </p:cNvGraphicFramePr>
          <p:nvPr>
            <p:extLst/>
          </p:nvPr>
        </p:nvGraphicFramePr>
        <p:xfrm>
          <a:off x="698283" y="2572671"/>
          <a:ext cx="2965611" cy="108481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9908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66652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27492">
                <a:tc>
                  <a:txBody>
                    <a:bodyPr/>
                    <a:lstStyle/>
                    <a:p>
                      <a:pPr algn="r"/>
                      <a:r>
                        <a:rPr lang="en-US" sz="1200" dirty="0" smtClean="0">
                          <a:solidFill>
                            <a:schemeClr val="tx2"/>
                          </a:solidFill>
                        </a:rPr>
                        <a:t>MSRP</a:t>
                      </a:r>
                      <a:endParaRPr lang="en-US" sz="1200" dirty="0">
                        <a:solidFill>
                          <a:schemeClr val="tx2"/>
                        </a:solidFill>
                      </a:endParaRPr>
                    </a:p>
                  </a:txBody>
                  <a:tcPr marT="18288" marB="18288"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2"/>
                          </a:solidFill>
                        </a:rPr>
                        <a:t>$29.9k</a:t>
                      </a:r>
                      <a:endParaRPr lang="en-US" sz="1200" b="1" dirty="0">
                        <a:solidFill>
                          <a:schemeClr val="tx2"/>
                        </a:solidFill>
                      </a:endParaRPr>
                    </a:p>
                  </a:txBody>
                  <a:tcPr marL="0" marT="18288" marB="18288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27492">
                <a:tc>
                  <a:txBody>
                    <a:bodyPr/>
                    <a:lstStyle/>
                    <a:p>
                      <a:pPr algn="r"/>
                      <a:r>
                        <a:rPr lang="en-US" sz="1200" dirty="0" smtClean="0">
                          <a:solidFill>
                            <a:schemeClr val="tx2"/>
                          </a:solidFill>
                        </a:rPr>
                        <a:t>Range</a:t>
                      </a:r>
                      <a:endParaRPr lang="en-US" sz="1200" dirty="0">
                        <a:solidFill>
                          <a:schemeClr val="tx2"/>
                        </a:solidFill>
                      </a:endParaRPr>
                    </a:p>
                  </a:txBody>
                  <a:tcPr marT="18288" marB="18288"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2"/>
                          </a:solidFill>
                        </a:rPr>
                        <a:t>150 mi</a:t>
                      </a:r>
                      <a:endParaRPr lang="en-US" sz="1200" b="1" dirty="0">
                        <a:solidFill>
                          <a:schemeClr val="tx2"/>
                        </a:solidFill>
                      </a:endParaRPr>
                    </a:p>
                  </a:txBody>
                  <a:tcPr marL="0" marT="18288" marB="18288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27492">
                <a:tc>
                  <a:txBody>
                    <a:bodyPr/>
                    <a:lstStyle/>
                    <a:p>
                      <a:pPr algn="r"/>
                      <a:r>
                        <a:rPr lang="en-US" sz="1200" dirty="0" smtClean="0">
                          <a:solidFill>
                            <a:schemeClr val="tx2"/>
                          </a:solidFill>
                        </a:rPr>
                        <a:t>Battery</a:t>
                      </a:r>
                      <a:endParaRPr lang="en-US" sz="1200" dirty="0">
                        <a:solidFill>
                          <a:schemeClr val="tx2"/>
                        </a:solidFill>
                      </a:endParaRPr>
                    </a:p>
                  </a:txBody>
                  <a:tcPr marT="18288" marB="18288"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2"/>
                          </a:solidFill>
                        </a:rPr>
                        <a:t>40 kWh</a:t>
                      </a:r>
                      <a:endParaRPr lang="en-US" sz="1200" b="1" dirty="0">
                        <a:solidFill>
                          <a:schemeClr val="tx2"/>
                        </a:solidFill>
                      </a:endParaRPr>
                    </a:p>
                  </a:txBody>
                  <a:tcPr marL="0" marT="18288" marB="18288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02336">
                <a:tc>
                  <a:txBody>
                    <a:bodyPr/>
                    <a:lstStyle/>
                    <a:p>
                      <a:pPr algn="r"/>
                      <a:r>
                        <a:rPr lang="en-US" sz="1200" dirty="0" smtClean="0">
                          <a:solidFill>
                            <a:schemeClr val="tx2"/>
                          </a:solidFill>
                        </a:rPr>
                        <a:t>Power</a:t>
                      </a:r>
                      <a:endParaRPr lang="en-US" sz="1200" dirty="0">
                        <a:solidFill>
                          <a:schemeClr val="tx2"/>
                        </a:solidFill>
                      </a:endParaRPr>
                    </a:p>
                  </a:txBody>
                  <a:tcPr marT="18288" marB="18288"/>
                </a:tc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2"/>
                          </a:solidFill>
                        </a:rPr>
                        <a:t>147</a:t>
                      </a:r>
                      <a:r>
                        <a:rPr lang="en-US" sz="1200" b="1" baseline="0" dirty="0" smtClean="0">
                          <a:solidFill>
                            <a:schemeClr val="tx2"/>
                          </a:solidFill>
                        </a:rPr>
                        <a:t> HP (</a:t>
                      </a:r>
                      <a:r>
                        <a:rPr lang="en-US" sz="1200" b="1" dirty="0" smtClean="0">
                          <a:solidFill>
                            <a:schemeClr val="tx2"/>
                          </a:solidFill>
                        </a:rPr>
                        <a:t>110</a:t>
                      </a:r>
                      <a:r>
                        <a:rPr lang="en-US" sz="1200" b="1" baseline="0" dirty="0" smtClean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en-US" sz="1200" b="1" dirty="0" smtClean="0">
                          <a:solidFill>
                            <a:schemeClr val="tx2"/>
                          </a:solidFill>
                        </a:rPr>
                        <a:t>kW)</a:t>
                      </a:r>
                    </a:p>
                    <a:p>
                      <a:endParaRPr lang="en-US" sz="1200" b="1" dirty="0">
                        <a:solidFill>
                          <a:schemeClr val="tx2"/>
                        </a:solidFill>
                      </a:endParaRPr>
                    </a:p>
                  </a:txBody>
                  <a:tcPr marL="0" marT="18288" marB="18288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5" name="TextBox 34"/>
          <p:cNvSpPr txBox="1"/>
          <p:nvPr/>
        </p:nvSpPr>
        <p:spPr>
          <a:xfrm>
            <a:off x="1695272" y="793616"/>
            <a:ext cx="857927" cy="2616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31750"/>
          </a:effectLst>
        </p:spPr>
        <p:txBody>
          <a:bodyPr wrap="none" rtlCol="0">
            <a:spAutoFit/>
          </a:bodyPr>
          <a:lstStyle/>
          <a:p>
            <a:r>
              <a:rPr kumimoji="1" lang="en-US" altLang="ja-JP" sz="1100" b="1" dirty="0">
                <a:solidFill>
                  <a:sysClr val="windowText" lastClr="000000"/>
                </a:solidFill>
              </a:rPr>
              <a:t>Q1 2018</a:t>
            </a:r>
            <a:endParaRPr kumimoji="1" lang="ja-JP" altLang="en-US" sz="1100" b="1" dirty="0">
              <a:solidFill>
                <a:sysClr val="windowText" lastClr="000000"/>
              </a:solidFill>
            </a:endParaRPr>
          </a:p>
        </p:txBody>
      </p:sp>
      <p:pic>
        <p:nvPicPr>
          <p:cNvPr id="38" name="Picture 37"/>
          <p:cNvPicPr>
            <a:picLocks noChangeAspect="1"/>
          </p:cNvPicPr>
          <p:nvPr/>
        </p:nvPicPr>
        <p:blipFill rotWithShape="1">
          <a:blip r:embed="rId7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4404" y="1184520"/>
            <a:ext cx="1979664" cy="1045117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4600" y="60204"/>
            <a:ext cx="3471558" cy="450477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225395" y="3926213"/>
            <a:ext cx="3731799" cy="2931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7222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Rock Our Sales 2017">
  <a:themeElements>
    <a:clrScheme name="2017 Nissan Field Meeting">
      <a:dk1>
        <a:srgbClr val="000000"/>
      </a:dk1>
      <a:lt1>
        <a:srgbClr val="FFFFFF"/>
      </a:lt1>
      <a:dk2>
        <a:srgbClr val="0382B6"/>
      </a:dk2>
      <a:lt2>
        <a:srgbClr val="C3002F"/>
      </a:lt2>
      <a:accent1>
        <a:srgbClr val="0382B6"/>
      </a:accent1>
      <a:accent2>
        <a:srgbClr val="C4223D"/>
      </a:accent2>
      <a:accent3>
        <a:srgbClr val="4C4C4C"/>
      </a:accent3>
      <a:accent4>
        <a:srgbClr val="666666"/>
      </a:accent4>
      <a:accent5>
        <a:srgbClr val="0382B6"/>
      </a:accent5>
      <a:accent6>
        <a:srgbClr val="EBEBEB"/>
      </a:accent6>
      <a:hlink>
        <a:srgbClr val="4C4C4C"/>
      </a:hlink>
      <a:folHlink>
        <a:srgbClr val="D0D0D0"/>
      </a:folHlink>
    </a:clrScheme>
    <a:fontScheme name="2017 Nissan Filed Meeting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dirty="0" err="1" smtClean="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 MC-NA Maste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992</Words>
  <Application>Microsoft Office PowerPoint</Application>
  <PresentationFormat>Widescreen</PresentationFormat>
  <Paragraphs>436</Paragraphs>
  <Slides>17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35" baseType="lpstr">
      <vt:lpstr>Aharoni</vt:lpstr>
      <vt:lpstr>Arial</vt:lpstr>
      <vt:lpstr>Calibri</vt:lpstr>
      <vt:lpstr>Calibri Light</vt:lpstr>
      <vt:lpstr>Century Gothic</vt:lpstr>
      <vt:lpstr>Franklin Gothic Heavy</vt:lpstr>
      <vt:lpstr>HGS創英角ｺﾞｼｯｸUB</vt:lpstr>
      <vt:lpstr>Segoe UI</vt:lpstr>
      <vt:lpstr>Trebuchet MS</vt:lpstr>
      <vt:lpstr>Verdana</vt:lpstr>
      <vt:lpstr>Verdana Pro Cond SemiBold</vt:lpstr>
      <vt:lpstr>Verdana Pro SemiBold</vt:lpstr>
      <vt:lpstr>Wingdings</vt:lpstr>
      <vt:lpstr>Office Theme</vt:lpstr>
      <vt:lpstr>Rock Our Sales 2017</vt:lpstr>
      <vt:lpstr>1_Office Theme</vt:lpstr>
      <vt:lpstr>1 MC-NA Master</vt:lpstr>
      <vt:lpstr>think-cell Slide</vt:lpstr>
      <vt:lpstr>PowerPoint Presentation</vt:lpstr>
      <vt:lpstr>Paul Minahan</vt:lpstr>
      <vt:lpstr>PowerPoint Presentation</vt:lpstr>
      <vt:lpstr>EV Volume Growth</vt:lpstr>
      <vt:lpstr> “Simply Amazing” New Nissan LEAF </vt:lpstr>
      <vt:lpstr>PowerPoint Presentation</vt:lpstr>
      <vt:lpstr>PowerPoint Presentation</vt:lpstr>
      <vt:lpstr>PowerPoint Presentation</vt:lpstr>
      <vt:lpstr>BEV Segment Range and Price Distribution </vt:lpstr>
      <vt:lpstr>Product Concept</vt:lpstr>
      <vt:lpstr>MY18 LEAF Key Highlights</vt:lpstr>
      <vt:lpstr>PowerPoint Presentation</vt:lpstr>
      <vt:lpstr>PowerPoint Presentation</vt:lpstr>
      <vt:lpstr>PowerPoint Presentation</vt:lpstr>
      <vt:lpstr>MY18 LEAF Price/Value Positioning</vt:lpstr>
      <vt:lpstr>MY18 LEAF Key Takeaways</vt:lpstr>
      <vt:lpstr>Thank you!</vt:lpstr>
    </vt:vector>
  </TitlesOfParts>
  <Company>Nissa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nahan, Paul</dc:creator>
  <cp:lastModifiedBy>Minahan, Paul</cp:lastModifiedBy>
  <cp:revision>1</cp:revision>
  <dcterms:created xsi:type="dcterms:W3CDTF">2017-10-09T19:55:00Z</dcterms:created>
  <dcterms:modified xsi:type="dcterms:W3CDTF">2017-10-09T19:57:02Z</dcterms:modified>
</cp:coreProperties>
</file>